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bookmarkIdSeed="3">
  <p:sldMasterIdLst>
    <p:sldMasterId id="2147483648" r:id="rId1"/>
    <p:sldMasterId id="2147483652" r:id="rId2"/>
    <p:sldMasterId id="2147483660" r:id="rId3"/>
  </p:sldMasterIdLst>
  <p:notesMasterIdLst>
    <p:notesMasterId r:id="rId19"/>
  </p:notesMasterIdLst>
  <p:handoutMasterIdLst>
    <p:handoutMasterId r:id="rId20"/>
  </p:handoutMasterIdLst>
  <p:sldIdLst>
    <p:sldId id="1133" r:id="rId4"/>
    <p:sldId id="1148" r:id="rId5"/>
    <p:sldId id="1149" r:id="rId6"/>
    <p:sldId id="1150" r:id="rId7"/>
    <p:sldId id="1151" r:id="rId8"/>
    <p:sldId id="1152" r:id="rId9"/>
    <p:sldId id="1158" r:id="rId10"/>
    <p:sldId id="1162" r:id="rId11"/>
    <p:sldId id="1163" r:id="rId12"/>
    <p:sldId id="1167" r:id="rId13"/>
    <p:sldId id="1168" r:id="rId14"/>
    <p:sldId id="1169" r:id="rId15"/>
    <p:sldId id="1153" r:id="rId16"/>
    <p:sldId id="1155" r:id="rId17"/>
    <p:sldId id="1154" r:id="rId18"/>
  </p:sldIdLst>
  <p:sldSz cx="12192000" cy="6858000"/>
  <p:notesSz cx="6805613" cy="99441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6" userDrawn="1">
          <p15:clr>
            <a:srgbClr val="A4A3A4"/>
          </p15:clr>
        </p15:guide>
        <p15:guide id="2" pos="302" userDrawn="1">
          <p15:clr>
            <a:srgbClr val="A4A3A4"/>
          </p15:clr>
        </p15:guide>
        <p15:guide id="4" pos="7401" userDrawn="1">
          <p15:clr>
            <a:srgbClr val="A4A3A4"/>
          </p15:clr>
        </p15:guide>
        <p15:guide id="5" orient="horz" pos="3725" userDrawn="1">
          <p15:clr>
            <a:srgbClr val="A4A3A4"/>
          </p15:clr>
        </p15:guide>
        <p15:guide id="6" orient="horz" pos="3249" userDrawn="1">
          <p15:clr>
            <a:srgbClr val="A4A3A4"/>
          </p15:clr>
        </p15:guide>
        <p15:guide id="10" pos="1844" userDrawn="1">
          <p15:clr>
            <a:srgbClr val="A4A3A4"/>
          </p15:clr>
        </p15:guide>
        <p15:guide id="14" pos="3318" userDrawn="1">
          <p15:clr>
            <a:srgbClr val="A4A3A4"/>
          </p15:clr>
        </p15:guide>
        <p15:guide id="15" pos="4747" userDrawn="1">
          <p15:clr>
            <a:srgbClr val="A4A3A4"/>
          </p15:clr>
        </p15:guide>
        <p15:guide id="16" pos="6040" userDrawn="1">
          <p15:clr>
            <a:srgbClr val="A4A3A4"/>
          </p15:clr>
        </p15:guide>
        <p15:guide id="17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ашкина Екатерина Борисовна" initials="АЕБ" lastIdx="8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8313"/>
    <a:srgbClr val="1D41D5"/>
    <a:srgbClr val="FFFF99"/>
    <a:srgbClr val="FFCC66"/>
    <a:srgbClr val="233C78"/>
    <a:srgbClr val="ECF5FB"/>
    <a:srgbClr val="E1EEFF"/>
    <a:srgbClr val="86C3E9"/>
    <a:srgbClr val="FC22C3"/>
    <a:srgbClr val="37AFA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134" autoAdjust="0"/>
    <p:restoredTop sz="94302" autoAdjust="0"/>
  </p:normalViewPr>
  <p:slideViewPr>
    <p:cSldViewPr snapToGrid="0" showGuides="1">
      <p:cViewPr varScale="1">
        <p:scale>
          <a:sx n="61" d="100"/>
          <a:sy n="61" d="100"/>
        </p:scale>
        <p:origin x="102" y="258"/>
      </p:cViewPr>
      <p:guideLst>
        <p:guide orient="horz" pos="436"/>
        <p:guide pos="302"/>
        <p:guide pos="7401"/>
        <p:guide orient="horz" pos="3725"/>
        <p:guide orient="horz" pos="3249"/>
        <p:guide pos="1844"/>
        <p:guide pos="3318"/>
        <p:guide pos="4747"/>
        <p:guide pos="604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1" d="100"/>
          <a:sy n="81" d="100"/>
        </p:scale>
        <p:origin x="3990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commentAuthors" Target="commentAuthor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9575" cy="49847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1" y="1"/>
            <a:ext cx="2949575" cy="498475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5E1740E6-FAAD-458E-8F70-076CE730AACD}" type="datetimeFigureOut">
              <a:rPr lang="ru-RU" smtClean="0"/>
              <a:pPr/>
              <a:t>26.02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45626"/>
            <a:ext cx="2949575" cy="49847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1" y="9445626"/>
            <a:ext cx="2949575" cy="498475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6A9B7E29-9827-4036-968E-B9C584E7527E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9099" cy="498932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0"/>
            <a:ext cx="2949099" cy="498932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DDBF8789-1979-4371-9085-ABA0C510A7FF}" type="datetimeFigureOut">
              <a:rPr lang="ru-RU" smtClean="0"/>
              <a:pPr/>
              <a:t>26.02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2" y="4785599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8BBC4957-3E6D-44F6-80D1-E054D6E6E00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мещающий образ слайда 1"/>
          <p:cNvSpPr>
            <a:spLocks noGrp="1" noRot="1" noChangeAspect="1"/>
          </p:cNvSpPr>
          <p:nvPr>
            <p:ph type="sldImg" idx="2"/>
          </p:nvPr>
        </p:nvSpPr>
        <p:spPr/>
      </p:sp>
      <p:sp>
        <p:nvSpPr>
          <p:cNvPr id="3" name="Замещающий текст 2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ru-RU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Титульный слайд">
  <p:cSld name="2_Титульный слайд">
    <p:bg>
      <p:bgPr>
        <a:solidFill>
          <a:srgbClr val="F4F8FA"/>
        </a:solidFill>
        <a:effectLst/>
      </p:bgPr>
    </p:bg>
    <p:spTree>
      <p:nvGrpSpPr>
        <p:cNvPr id="1" name="Shape 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Google Shape;40;p57" descr="preencoded.png"/>
          <p:cNvPicPr preferRelativeResize="0"/>
          <p:nvPr/>
        </p:nvPicPr>
        <p:blipFill rotWithShape="1">
          <a:blip r:embed="rId2" cstate="print"/>
          <a:srcRect/>
          <a:stretch>
            <a:fillRect/>
          </a:stretch>
        </p:blipFill>
        <p:spPr>
          <a:xfrm>
            <a:off x="10447338" y="8731"/>
            <a:ext cx="1752600" cy="1168400"/>
          </a:xfrm>
          <a:prstGeom prst="rect">
            <a:avLst/>
          </a:prstGeom>
          <a:noFill/>
          <a:ln>
            <a:noFill/>
          </a:ln>
        </p:spPr>
      </p:pic>
      <p:sp>
        <p:nvSpPr>
          <p:cNvPr id="41" name="Google Shape;41;p57"/>
          <p:cNvSpPr/>
          <p:nvPr/>
        </p:nvSpPr>
        <p:spPr>
          <a:xfrm>
            <a:off x="479425" y="6445712"/>
            <a:ext cx="3006571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000">
                <a:solidFill>
                  <a:srgbClr val="233C7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t>©  Издательство «Просвещение», 2024</a:t>
            </a:r>
          </a:p>
        </p:txBody>
      </p:sp>
      <p:sp>
        <p:nvSpPr>
          <p:cNvPr id="42" name="Google Shape;42;p57"/>
          <p:cNvSpPr txBox="1"/>
          <p:nvPr/>
        </p:nvSpPr>
        <p:spPr>
          <a:xfrm>
            <a:off x="11323638" y="485775"/>
            <a:ext cx="460375" cy="2143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233C78"/>
              </a:buClr>
              <a:buSzPts val="1400"/>
              <a:buFont typeface="Calibri" panose="020F0502020204030204"/>
              <a:buNone/>
            </a:pPr>
            <a:fld id="{00000000-1234-1234-1234-123412341234}" type="slidenum">
              <a:rPr lang="ru-RU" sz="1400" b="1">
                <a:solidFill>
                  <a:srgbClr val="233C78"/>
                </a:solidFill>
                <a:latin typeface="Calibri" panose="020F0502020204030204"/>
                <a:ea typeface="Calibri" panose="020F0502020204030204"/>
                <a:cs typeface="Calibri" panose="020F0502020204030204"/>
                <a:sym typeface="Calibri" panose="020F0502020204030204"/>
              </a:rPr>
              <a:pPr marL="0" marR="0" lvl="0" indent="0" algn="r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233C78"/>
                </a:buClr>
                <a:buSzPts val="1400"/>
                <a:buFont typeface="Calibri" panose="020F0502020204030204"/>
                <a:buNone/>
              </a:pPr>
              <a:t>‹#›</a:t>
            </a:fld>
            <a:endParaRPr sz="1400" b="1">
              <a:solidFill>
                <a:srgbClr val="233C78"/>
              </a:solidFill>
              <a:latin typeface="Calibri" panose="020F0502020204030204"/>
              <a:ea typeface="Calibri" panose="020F0502020204030204"/>
              <a:cs typeface="Calibri" panose="020F0502020204030204"/>
              <a:sym typeface="Calibri" panose="020F0502020204030204"/>
            </a:endParaRPr>
          </a:p>
        </p:txBody>
      </p:sp>
      <p:pic>
        <p:nvPicPr>
          <p:cNvPr id="43" name="Google Shape;43;p57"/>
          <p:cNvPicPr preferRelativeResize="0"/>
          <p:nvPr/>
        </p:nvPicPr>
        <p:blipFill rotWithShape="1">
          <a:blip r:embed="rId3" cstate="print"/>
          <a:srcRect r="65863" b="-13113"/>
          <a:stretch>
            <a:fillRect/>
          </a:stretch>
        </p:blipFill>
        <p:spPr>
          <a:xfrm>
            <a:off x="9245948" y="6046950"/>
            <a:ext cx="1513015" cy="572368"/>
          </a:xfrm>
          <a:prstGeom prst="rect">
            <a:avLst/>
          </a:prstGeom>
          <a:noFill/>
          <a:ln>
            <a:noFill/>
          </a:ln>
        </p:spPr>
      </p:pic>
      <p:pic>
        <p:nvPicPr>
          <p:cNvPr id="44" name="Google Shape;44;p57" descr="preencoded.png"/>
          <p:cNvPicPr preferRelativeResize="0"/>
          <p:nvPr/>
        </p:nvPicPr>
        <p:blipFill rotWithShape="1">
          <a:blip r:embed="rId4" cstate="print"/>
          <a:srcRect/>
          <a:stretch>
            <a:fillRect/>
          </a:stretch>
        </p:blipFill>
        <p:spPr>
          <a:xfrm>
            <a:off x="0" y="1676400"/>
            <a:ext cx="996950" cy="1987550"/>
          </a:xfrm>
          <a:prstGeom prst="rect">
            <a:avLst/>
          </a:prstGeom>
          <a:noFill/>
          <a:ln>
            <a:noFill/>
          </a:ln>
        </p:spPr>
      </p:pic>
      <p:pic>
        <p:nvPicPr>
          <p:cNvPr id="45" name="Google Shape;45;p57" descr="preencoded.png"/>
          <p:cNvPicPr preferRelativeResize="0"/>
          <p:nvPr/>
        </p:nvPicPr>
        <p:blipFill rotWithShape="1">
          <a:blip r:embed="rId5" cstate="print"/>
          <a:srcRect/>
          <a:stretch>
            <a:fillRect/>
          </a:stretch>
        </p:blipFill>
        <p:spPr>
          <a:xfrm>
            <a:off x="11328400" y="3968750"/>
            <a:ext cx="863600" cy="1758950"/>
          </a:xfrm>
          <a:prstGeom prst="rect">
            <a:avLst/>
          </a:prstGeom>
          <a:noFill/>
          <a:ln>
            <a:noFill/>
          </a:ln>
        </p:spPr>
      </p:pic>
      <p:sp>
        <p:nvSpPr>
          <p:cNvPr id="46" name="Google Shape;46;p57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ru-RU"/>
          </a:p>
        </p:txBody>
      </p:sp>
      <p:sp>
        <p:nvSpPr>
          <p:cNvPr id="10" name="Прямоугольник 7"/>
          <p:cNvSpPr/>
          <p:nvPr userDrawn="1"/>
        </p:nvSpPr>
        <p:spPr bwMode="auto">
          <a:xfrm>
            <a:off x="5896266" y="6442524"/>
            <a:ext cx="39946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C8B0588C-5D01-654B-9A15-2A6BDD1112E5}" type="slidenum">
              <a:rPr lang="ru-RU" sz="1400" b="1">
                <a:solidFill>
                  <a:srgbClr val="233C78"/>
                </a:solidFill>
                <a:latin typeface="Calibri" panose="020F0502020204030204"/>
                <a:ea typeface="+mn-ea"/>
                <a:cs typeface="+mn-cs"/>
              </a:rPr>
              <a:pPr>
                <a:defRPr/>
              </a:pPr>
              <a:t>‹#›</a:t>
            </a:fld>
            <a:endParaRPr lang="ru-RU" dirty="0"/>
          </a:p>
        </p:txBody>
      </p:sp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10857826" y="5999759"/>
            <a:ext cx="866775" cy="6667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841498" y="60705"/>
            <a:ext cx="6509003" cy="482600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rgbClr val="28458D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840992" y="1969007"/>
            <a:ext cx="8525510" cy="4025265"/>
          </a:xfrm>
          <a:prstGeom prst="rect">
            <a:avLst/>
          </a:prstGeo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/26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1522" r="488" b="72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63841" r="79396" b="723"/>
          <a:stretch>
            <a:fillRect/>
          </a:stretch>
        </p:blipFill>
        <p:spPr>
          <a:xfrm>
            <a:off x="0" y="4371975"/>
            <a:ext cx="2459038" cy="248602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>
            <a:fillRect/>
          </a:stretch>
        </p:blipFill>
        <p:spPr>
          <a:xfrm>
            <a:off x="8201024" y="0"/>
            <a:ext cx="3990975" cy="39687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>
            <a:fillRect/>
          </a:stretch>
        </p:blipFill>
        <p:spPr>
          <a:xfrm>
            <a:off x="8201994" y="997527"/>
            <a:ext cx="3990975" cy="396875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>
            <a:fillRect/>
          </a:stretch>
        </p:blipFill>
        <p:spPr>
          <a:xfrm rot="10800000">
            <a:off x="0" y="997527"/>
            <a:ext cx="3990975" cy="39687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 bwMode="auto"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1298448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</a:p>
          <a:p>
            <a:pPr lvl="1">
              <a:defRPr/>
            </a:pPr>
            <a:r>
              <a:rPr lang="ru-RU"/>
              <a:t>Второй уровень</a:t>
            </a:r>
          </a:p>
          <a:p>
            <a:pPr lvl="2">
              <a:defRPr/>
            </a:pPr>
            <a:r>
              <a:rPr lang="ru-RU"/>
              <a:t>Третий уровень</a:t>
            </a:r>
          </a:p>
          <a:p>
            <a:pPr lvl="3">
              <a:defRPr/>
            </a:pPr>
            <a:r>
              <a:rPr lang="ru-RU"/>
              <a:t>Четвертый уровень</a:t>
            </a:r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81344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</a:p>
          <a:p>
            <a:pPr lvl="1">
              <a:defRPr/>
            </a:pPr>
            <a:r>
              <a:rPr lang="ru-RU"/>
              <a:t>Второй уровень</a:t>
            </a:r>
          </a:p>
          <a:p>
            <a:pPr lvl="2">
              <a:defRPr/>
            </a:pPr>
            <a:r>
              <a:rPr lang="ru-RU"/>
              <a:t>Третий уровень</a:t>
            </a:r>
          </a:p>
          <a:p>
            <a:pPr lvl="3">
              <a:defRPr/>
            </a:pPr>
            <a:r>
              <a:rPr lang="ru-RU"/>
              <a:t>Четвертый уровень</a:t>
            </a:r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0018DADB-8B59-4AFE-9BE9-5D45F1646E26}" type="datetimeFigureOut">
              <a:rPr lang="ru-RU">
                <a:solidFill>
                  <a:prstClr val="black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26.02.2025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0A9230AF-8A3A-4A91-8900-83BD7EB07807}" type="slidenum">
              <a:rPr lang="ru-RU">
                <a:solidFill>
                  <a:prstClr val="black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841498" y="60705"/>
            <a:ext cx="6509003" cy="482600"/>
          </a:xfrm>
          <a:prstGeom prst="rect">
            <a:avLst/>
          </a:prstGeom>
        </p:spPr>
        <p:txBody>
          <a:bodyPr lIns="0" tIns="0" rIns="0" bIns="0"/>
          <a:lstStyle>
            <a:lvl1pPr>
              <a:defRPr sz="3000" b="1" i="0">
                <a:solidFill>
                  <a:srgbClr val="28458D"/>
                </a:solidFill>
                <a:latin typeface="Calibri" panose="020F0502020204030204"/>
                <a:cs typeface="Calibri" panose="020F0502020204030204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840992" y="1969007"/>
            <a:ext cx="8525510" cy="4025265"/>
          </a:xfrm>
          <a:prstGeom prst="rect">
            <a:avLst/>
          </a:prstGeom>
        </p:spPr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342900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2/26/2025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fld id="{CB24468F-6682-48AA-B5F4-BEF8E7F9833C}" type="datetimeFigureOut">
              <a:rPr lang="ru-RU" smtClean="0"/>
              <a:pPr/>
              <a:t>26.02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1522" r="488" b="724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63841" r="79396" b="723"/>
          <a:stretch>
            <a:fillRect/>
          </a:stretch>
        </p:blipFill>
        <p:spPr>
          <a:xfrm>
            <a:off x="0" y="4371975"/>
            <a:ext cx="2459038" cy="248602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>
            <a:fillRect/>
          </a:stretch>
        </p:blipFill>
        <p:spPr>
          <a:xfrm>
            <a:off x="8201024" y="0"/>
            <a:ext cx="3990975" cy="39687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>
            <a:fillRect/>
          </a:stretch>
        </p:blipFill>
        <p:spPr>
          <a:xfrm>
            <a:off x="8201994" y="997527"/>
            <a:ext cx="3990975" cy="396875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156" t="1522" r="488" b="41908"/>
          <a:stretch>
            <a:fillRect/>
          </a:stretch>
        </p:blipFill>
        <p:spPr>
          <a:xfrm rot="10800000">
            <a:off x="0" y="997527"/>
            <a:ext cx="3990975" cy="396875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type="twoObj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 bwMode="auto">
          <a:xfrm>
            <a:off x="1396169" y="2421466"/>
            <a:ext cx="9407298" cy="0"/>
          </a:xfrm>
          <a:prstGeom prst="line">
            <a:avLst/>
          </a:prstGeom>
          <a:ln w="15875"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Title 1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6" name="Content Placeholder 2"/>
          <p:cNvSpPr>
            <a:spLocks noGrp="1"/>
          </p:cNvSpPr>
          <p:nvPr>
            <p:ph sz="half" idx="1"/>
          </p:nvPr>
        </p:nvSpPr>
        <p:spPr bwMode="auto">
          <a:xfrm>
            <a:off x="1298448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</a:p>
          <a:p>
            <a:pPr lvl="1">
              <a:defRPr/>
            </a:pPr>
            <a:r>
              <a:rPr lang="ru-RU"/>
              <a:t>Второй уровень</a:t>
            </a:r>
          </a:p>
          <a:p>
            <a:pPr lvl="2">
              <a:defRPr/>
            </a:pPr>
            <a:r>
              <a:rPr lang="ru-RU"/>
              <a:t>Третий уровень</a:t>
            </a:r>
          </a:p>
          <a:p>
            <a:pPr lvl="3">
              <a:defRPr/>
            </a:pPr>
            <a:r>
              <a:rPr lang="ru-RU"/>
              <a:t>Четвертый уровень</a:t>
            </a:r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 bwMode="auto">
          <a:xfrm>
            <a:off x="6181344" y="2560320"/>
            <a:ext cx="4718304" cy="3310127"/>
          </a:xfrm>
        </p:spPr>
        <p:txBody>
          <a:bodyPr>
            <a:norm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</a:p>
          <a:p>
            <a:pPr lvl="1">
              <a:defRPr/>
            </a:pPr>
            <a:r>
              <a:rPr lang="ru-RU"/>
              <a:t>Второй уровень</a:t>
            </a:r>
          </a:p>
          <a:p>
            <a:pPr lvl="2">
              <a:defRPr/>
            </a:pPr>
            <a:r>
              <a:rPr lang="ru-RU"/>
              <a:t>Третий уровень</a:t>
            </a:r>
          </a:p>
          <a:p>
            <a:pPr lvl="3">
              <a:defRPr/>
            </a:pPr>
            <a:r>
              <a:rPr lang="ru-RU"/>
              <a:t>Четвертый уровень</a:t>
            </a:r>
          </a:p>
          <a:p>
            <a:pPr lvl="4">
              <a:defRPr/>
            </a:pPr>
            <a:r>
              <a:rPr lang="ru-RU"/>
              <a:t>Пятый уровень</a:t>
            </a:r>
            <a:endParaRPr lang="en-US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0018DADB-8B59-4AFE-9BE9-5D45F1646E26}" type="datetimeFigureOut">
              <a:rPr lang="ru-RU">
                <a:solidFill>
                  <a:prstClr val="black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26.02.2025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 bwMode="auto"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 bwMode="auto"/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0A9230AF-8A3A-4A91-8900-83BD7EB07807}" type="slidenum">
              <a:rPr lang="ru-RU">
                <a:solidFill>
                  <a:prstClr val="black"/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image" Target="../media/image6.emf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8.xml"/><Relationship Id="rId15" Type="http://schemas.openxmlformats.org/officeDocument/2006/relationships/image" Target="../media/image9.png"/><Relationship Id="rId10" Type="http://schemas.openxmlformats.org/officeDocument/2006/relationships/tags" Target="../tags/tag1.xml"/><Relationship Id="rId4" Type="http://schemas.openxmlformats.org/officeDocument/2006/relationships/slideLayout" Target="../slideLayouts/slideLayout7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8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7.pn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image" Target="../media/image6.emf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oleObject" Target="../embeddings/oleObject2.bin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9.pn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4.xml"/><Relationship Id="rId9" Type="http://schemas.openxmlformats.org/officeDocument/2006/relationships/vmlDrawing" Target="../drawings/vmlDrawing2.vml"/><Relationship Id="rId14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51"/>
          <p:cNvSpPr txBox="1">
            <a:spLocks noGrp="1"/>
          </p:cNvSpPr>
          <p:nvPr>
            <p:ph type="sldNum" idx="12"/>
          </p:nvPr>
        </p:nvSpPr>
        <p:spPr>
          <a:xfrm>
            <a:off x="11409045" y="6333134"/>
            <a:ext cx="731700" cy="525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>
              <a:buNone/>
              <a:defRPr sz="1300">
                <a:solidFill>
                  <a:schemeClr val="tx1"/>
                </a:solidFill>
              </a:defRPr>
            </a:lvl1pPr>
            <a:lvl2pPr lvl="1" algn="r">
              <a:buNone/>
              <a:defRPr sz="1300">
                <a:solidFill>
                  <a:schemeClr val="tx1"/>
                </a:solidFill>
              </a:defRPr>
            </a:lvl2pPr>
            <a:lvl3pPr lvl="2" algn="r">
              <a:buNone/>
              <a:defRPr sz="1300">
                <a:solidFill>
                  <a:schemeClr val="tx1"/>
                </a:solidFill>
              </a:defRPr>
            </a:lvl3pPr>
            <a:lvl4pPr lvl="3" algn="r">
              <a:buNone/>
              <a:defRPr sz="1300">
                <a:solidFill>
                  <a:schemeClr val="tx1"/>
                </a:solidFill>
              </a:defRPr>
            </a:lvl4pPr>
            <a:lvl5pPr lvl="4" algn="r">
              <a:buNone/>
              <a:defRPr sz="1300">
                <a:solidFill>
                  <a:schemeClr val="tx1"/>
                </a:solidFill>
              </a:defRPr>
            </a:lvl5pPr>
            <a:lvl6pPr lvl="5" algn="r">
              <a:buNone/>
              <a:defRPr sz="1300">
                <a:solidFill>
                  <a:schemeClr val="tx1"/>
                </a:solidFill>
              </a:defRPr>
            </a:lvl6pPr>
            <a:lvl7pPr lvl="6" algn="r">
              <a:buNone/>
              <a:defRPr sz="1300">
                <a:solidFill>
                  <a:schemeClr val="tx1"/>
                </a:solidFill>
              </a:defRPr>
            </a:lvl7pPr>
            <a:lvl8pPr lvl="7" algn="r">
              <a:buNone/>
              <a:defRPr sz="1300">
                <a:solidFill>
                  <a:schemeClr val="tx1"/>
                </a:solidFill>
              </a:defRPr>
            </a:lvl8pPr>
            <a:lvl9pPr lvl="8" algn="r">
              <a:buNone/>
              <a:defRPr sz="1300">
                <a:solidFill>
                  <a:schemeClr val="tx1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 lang="ru-RU"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 panose="020B0604020202020204"/>
        <a:defRPr sz="1400" b="0" i="0" u="none" strike="noStrike" cap="none">
          <a:solidFill>
            <a:srgbClr val="000000"/>
          </a:solidFill>
          <a:latin typeface="Arial" panose="020B0604020202020204"/>
          <a:ea typeface="Arial" panose="020B0604020202020204"/>
          <a:cs typeface="Arial" panose="020B0604020202020204"/>
          <a:sym typeface="Arial" panose="020B0604020202020204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1" name="Слайд think-cell" r:id="rId11" imgW="360" imgH="360" progId="">
                  <p:embed/>
                </p:oleObj>
              </mc:Choice>
              <mc:Fallback>
                <p:oleObj name="Слайд think-cell" r:id="rId11" imgW="360" imgH="360" progId="">
                  <p:embed/>
                  <p:pic>
                    <p:nvPicPr>
                      <p:cNvPr id="0" name="Изображение 2" descr="image7"/>
                      <p:cNvPicPr>
                        <a:picLocks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Текст 1"/>
          <p:cNvSpPr txBox="1"/>
          <p:nvPr userDrawn="1"/>
        </p:nvSpPr>
        <p:spPr>
          <a:xfrm>
            <a:off x="11190288" y="49913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 sz="700" kern="1200">
                <a:solidFill>
                  <a:srgbClr val="333333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5E693BC3-FA09-7141-A0E8-7BF7E26C7440}" type="slidenum">
              <a:rPr lang="ru-RU" sz="1400" b="1" smtClean="0">
                <a:solidFill>
                  <a:srgbClr val="233C78"/>
                </a:solidFill>
              </a:rPr>
              <a:pPr algn="r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</a:endParaRPr>
          </a:p>
        </p:txBody>
      </p:sp>
      <p:pic>
        <p:nvPicPr>
          <p:cNvPr id="4" name="Рисунок 2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719" y="5951878"/>
            <a:ext cx="958671" cy="504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187" y="5951878"/>
            <a:ext cx="1083224" cy="5040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5238" y="5951878"/>
            <a:ext cx="1407821" cy="504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59" r:id="rId7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/>
          </p:cNvGraphicFramePr>
          <p:nvPr userDrawn="1">
            <p:custDataLst>
              <p:tags r:id="rId1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Слайд think-cell" r:id="rId11" imgW="360" imgH="360" progId="">
                  <p:embed/>
                </p:oleObj>
              </mc:Choice>
              <mc:Fallback>
                <p:oleObj name="Слайд think-cell" r:id="rId11" imgW="360" imgH="360" progId="">
                  <p:embed/>
                  <p:pic>
                    <p:nvPicPr>
                      <p:cNvPr id="0" name="Изображение 2" descr="image7"/>
                      <p:cNvPicPr>
                        <a:picLocks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Текст 1"/>
          <p:cNvSpPr txBox="1"/>
          <p:nvPr userDrawn="1"/>
        </p:nvSpPr>
        <p:spPr>
          <a:xfrm>
            <a:off x="11190288" y="499135"/>
            <a:ext cx="460375" cy="214313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defRPr sz="700" kern="1200">
                <a:solidFill>
                  <a:srgbClr val="333333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5E693BC3-FA09-7141-A0E8-7BF7E26C7440}" type="slidenum">
              <a:rPr lang="ru-RU" sz="1400" b="1" smtClean="0">
                <a:solidFill>
                  <a:srgbClr val="233C78"/>
                </a:solidFill>
              </a:rPr>
              <a:pPr algn="r">
                <a:defRPr/>
              </a:pPr>
              <a:t>‹#›</a:t>
            </a:fld>
            <a:endParaRPr lang="ru-RU" sz="1400" b="1" dirty="0">
              <a:solidFill>
                <a:srgbClr val="233C78"/>
              </a:solidFill>
            </a:endParaRPr>
          </a:p>
        </p:txBody>
      </p:sp>
      <p:pic>
        <p:nvPicPr>
          <p:cNvPr id="4" name="Рисунок 2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3719" y="5951878"/>
            <a:ext cx="958671" cy="5040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187" y="5951878"/>
            <a:ext cx="1083224" cy="5040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15238" y="5951878"/>
            <a:ext cx="1407821" cy="504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tags" Target="../tags/tag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153035"/>
            <a:ext cx="12308205" cy="259842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algn="ctr">
              <a:lnSpc>
                <a:spcPct val="100000"/>
              </a:lnSpc>
              <a:spcAft>
                <a:spcPts val="800"/>
              </a:spcAft>
            </a:pPr>
            <a:r>
              <a:rPr lang="en-US" altLang="en-US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ОХЧИЙН</a:t>
            </a:r>
            <a:r>
              <a:rPr lang="en-US" altLang="ru-RU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ЕСПУБЛИКИН</a:t>
            </a:r>
            <a:r>
              <a:rPr lang="en-US" altLang="ru-RU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ЕШАРАН</a:t>
            </a:r>
            <a:r>
              <a:rPr lang="en-US" altLang="ru-RU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</a:t>
            </a:r>
            <a:r>
              <a:rPr lang="en-US" altLang="ru-RU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I</a:t>
            </a:r>
            <a:r>
              <a:rPr lang="en-US" altLang="en-US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ЛМАНАН</a:t>
            </a:r>
            <a:r>
              <a:rPr lang="en-US" altLang="ru-RU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</a:t>
            </a:r>
            <a:r>
              <a:rPr lang="en-US" altLang="ru-RU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ИНИСТЕРСТВО</a:t>
            </a:r>
            <a:r>
              <a:rPr lang="en-US" altLang="ru-RU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US" altLang="ru-RU" sz="1400" dirty="0">
              <a:gradFill>
                <a:gsLst>
                  <a:gs pos="0">
                    <a:srgbClr val="012D86"/>
                  </a:gs>
                  <a:gs pos="100000">
                    <a:srgbClr val="0E2557"/>
                  </a:gs>
                </a:gsLst>
                <a:lin scaled="0"/>
              </a:gra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  <a:spcAft>
                <a:spcPts val="800"/>
              </a:spcAft>
            </a:pPr>
            <a:r>
              <a:rPr lang="en-US" altLang="en-US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</a:t>
            </a:r>
            <a:r>
              <a:rPr lang="en-US" altLang="ru-RU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altLang="en-US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ЕТОЬХНАЧУ</a:t>
            </a:r>
            <a:r>
              <a:rPr lang="en-US" altLang="ru-RU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ОРМАТАЛЛИН</a:t>
            </a:r>
            <a:r>
              <a:rPr lang="en-US" altLang="ru-RU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ЕШАРАН</a:t>
            </a:r>
            <a:r>
              <a:rPr lang="en-US" altLang="ru-RU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АЧХЬАЛКХАН</a:t>
            </a:r>
            <a:r>
              <a:rPr lang="en-US" altLang="ru-RU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БЮДЖЕТАН</a:t>
            </a:r>
            <a:r>
              <a:rPr lang="en-US" altLang="ru-RU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ЧРЕЖДЕНИ</a:t>
            </a:r>
          </a:p>
          <a:p>
            <a:pPr algn="ctr">
              <a:lnSpc>
                <a:spcPct val="100000"/>
              </a:lnSpc>
              <a:spcAft>
                <a:spcPts val="800"/>
              </a:spcAft>
            </a:pPr>
            <a:r>
              <a:rPr lang="en-US" altLang="en-US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«НОХЧИЙН</a:t>
            </a:r>
            <a:r>
              <a:rPr lang="en-US" altLang="ru-RU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ЕСПУБЛИКИН</a:t>
            </a:r>
            <a:r>
              <a:rPr lang="en-US" altLang="ru-RU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ЕШАР</a:t>
            </a:r>
            <a:r>
              <a:rPr lang="en-US" altLang="ru-RU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ХИОРАН</a:t>
            </a:r>
            <a:r>
              <a:rPr lang="en-US" altLang="ru-RU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НСТИТУТ»</a:t>
            </a:r>
          </a:p>
          <a:p>
            <a:pPr algn="ctr">
              <a:lnSpc>
                <a:spcPct val="100000"/>
              </a:lnSpc>
              <a:spcAft>
                <a:spcPts val="800"/>
              </a:spcAft>
            </a:pPr>
            <a:r>
              <a:rPr lang="ru-RU" altLang="en-US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_______________________________________________________________</a:t>
            </a:r>
            <a:endParaRPr lang="en-US" altLang="ru-RU" sz="1400" dirty="0">
              <a:gradFill>
                <a:gsLst>
                  <a:gs pos="0">
                    <a:srgbClr val="012D86"/>
                  </a:gs>
                  <a:gs pos="100000">
                    <a:srgbClr val="0E2557"/>
                  </a:gs>
                </a:gsLst>
                <a:lin scaled="0"/>
              </a:gra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  <a:spcAft>
                <a:spcPts val="800"/>
              </a:spcAft>
            </a:pPr>
            <a:r>
              <a:rPr lang="en-US" altLang="en-US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ОХЧИЙН</a:t>
            </a:r>
            <a:r>
              <a:rPr lang="en-US" altLang="ru-RU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РЕСПУБЛИКИН</a:t>
            </a:r>
            <a:r>
              <a:rPr lang="en-US" altLang="ru-RU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ЕШАРАН</a:t>
            </a:r>
            <a:r>
              <a:rPr lang="en-US" altLang="ru-RU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</a:t>
            </a:r>
            <a:r>
              <a:rPr lang="en-US" altLang="ru-RU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I</a:t>
            </a:r>
            <a:r>
              <a:rPr lang="en-US" altLang="en-US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ЛМАНАН</a:t>
            </a:r>
            <a:r>
              <a:rPr lang="en-US" altLang="ru-RU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</a:t>
            </a:r>
            <a:r>
              <a:rPr lang="en-US" altLang="ru-RU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ИНИСТЕРСТВО</a:t>
            </a:r>
            <a:endParaRPr lang="en-US" altLang="en-US" sz="1400" dirty="0">
              <a:gradFill>
                <a:gsLst>
                  <a:gs pos="0">
                    <a:srgbClr val="012D86"/>
                  </a:gs>
                  <a:gs pos="100000">
                    <a:srgbClr val="0E2557"/>
                  </a:gs>
                </a:gsLst>
                <a:lin scaled="0"/>
              </a:gra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0000"/>
              </a:lnSpc>
              <a:spcAft>
                <a:spcPts val="800"/>
              </a:spcAft>
            </a:pPr>
            <a:r>
              <a:rPr lang="en-US" altLang="en-US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АЧХЬАЛКХАН</a:t>
            </a:r>
            <a:r>
              <a:rPr lang="en-US" altLang="ru-RU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АЗЕННИ</a:t>
            </a:r>
            <a:r>
              <a:rPr lang="en-US" altLang="ru-RU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УЧРЕЖДЕНИ</a:t>
            </a:r>
            <a:r>
              <a:rPr lang="ru-RU" altLang="en-US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«НОХЧИЙН</a:t>
            </a:r>
            <a:r>
              <a:rPr lang="ru-RU" altLang="en-US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МЕТТА</a:t>
            </a:r>
            <a:r>
              <a:rPr lang="ru-RU" altLang="en-US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Н  </a:t>
            </a:r>
            <a:r>
              <a:rPr lang="en-US" altLang="en-US" sz="14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НСТИТУТ»</a:t>
            </a:r>
            <a:r>
              <a:rPr lang="ru-RU" sz="1200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___________________________________________________________________________________________________________</a:t>
            </a:r>
            <a:endParaRPr lang="en-US" sz="1400" dirty="0">
              <a:solidFill>
                <a:srgbClr val="002060"/>
              </a:solidFill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201263" y="5931961"/>
            <a:ext cx="1386348" cy="6540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altLang="ru-RU" sz="1400" dirty="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altLang="en-US" sz="1400" b="1" dirty="0">
                <a:solidFill>
                  <a:srgbClr val="1D41D5"/>
                </a:soli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</a:t>
            </a:r>
            <a:r>
              <a:rPr lang="en-US" altLang="en-US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ьлжа</a:t>
            </a:r>
            <a:r>
              <a:rPr lang="en-US" altLang="ru-RU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-</a:t>
            </a:r>
            <a:r>
              <a:rPr lang="en-US" altLang="en-US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Г</a:t>
            </a:r>
            <a:r>
              <a:rPr lang="en-US" altLang="ru-RU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I</a:t>
            </a:r>
            <a:r>
              <a:rPr lang="en-US" altLang="en-US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ла</a:t>
            </a: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altLang="ru-RU" sz="1400" b="1" dirty="0">
                <a:gradFill>
                  <a:gsLst>
                    <a:gs pos="0">
                      <a:srgbClr val="012D86"/>
                    </a:gs>
                    <a:gs pos="100000">
                      <a:srgbClr val="0E2557"/>
                    </a:gs>
                  </a:gsLst>
                  <a:lin scaled="0"/>
                </a:gradFill>
                <a:effectLst/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2024</a:t>
            </a:r>
          </a:p>
        </p:txBody>
      </p:sp>
      <p:sp>
        <p:nvSpPr>
          <p:cNvPr id="2" name="Текстовое поле 1"/>
          <p:cNvSpPr txBox="1"/>
          <p:nvPr/>
        </p:nvSpPr>
        <p:spPr>
          <a:xfrm>
            <a:off x="202565" y="2483485"/>
            <a:ext cx="11989435" cy="2061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266700">
              <a:lnSpc>
                <a:spcPct val="100000"/>
              </a:lnSpc>
            </a:pPr>
            <a:r>
              <a:rPr sz="32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Коьртачу</a:t>
            </a:r>
            <a:r>
              <a:rPr sz="32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32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ишколан</a:t>
            </a:r>
            <a:r>
              <a:rPr sz="32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3200" b="1" dirty="0" smtClean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5</a:t>
            </a:r>
            <a:r>
              <a:rPr lang="ru-RU" sz="32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–</a:t>
            </a:r>
            <a:r>
              <a:rPr sz="3200" b="1" dirty="0" smtClean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8 </a:t>
            </a:r>
            <a:r>
              <a:rPr sz="32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классашна</a:t>
            </a:r>
            <a:r>
              <a:rPr sz="32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32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лерина</a:t>
            </a:r>
            <a:r>
              <a:rPr sz="32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</a:p>
          <a:p>
            <a:pPr algn="ctr" defTabSz="266700">
              <a:lnSpc>
                <a:spcPct val="100000"/>
              </a:lnSpc>
            </a:pPr>
            <a:r>
              <a:rPr sz="32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«</a:t>
            </a:r>
            <a:r>
              <a:rPr sz="3200" b="1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Й</a:t>
            </a:r>
            <a:r>
              <a:rPr lang="ru-RU" sz="3200" b="1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ЕШАР</a:t>
            </a:r>
            <a:r>
              <a:rPr sz="3200" b="1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»</a:t>
            </a:r>
            <a:r>
              <a:rPr sz="3200" b="1" dirty="0" smtClean="0">
                <a:latin typeface="Times New Roman" panose="02020603050405020304"/>
                <a:ea typeface="Times New Roman" panose="02020603050405020304"/>
              </a:rPr>
              <a:t> </a:t>
            </a:r>
            <a:r>
              <a:rPr sz="32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проект</a:t>
            </a:r>
            <a:r>
              <a:rPr sz="32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32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кхочушйаран</a:t>
            </a:r>
            <a:r>
              <a:rPr sz="32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endParaRPr sz="3200" b="1" dirty="0">
              <a:latin typeface="Times New Roman" panose="02020603050405020304"/>
              <a:ea typeface="Times New Roman" panose="02020603050405020304"/>
            </a:endParaRPr>
          </a:p>
          <a:p>
            <a:pPr algn="ctr" defTabSz="266700">
              <a:lnSpc>
                <a:spcPct val="100000"/>
              </a:lnSpc>
            </a:pPr>
            <a:r>
              <a:rPr sz="32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нохчийн</a:t>
            </a:r>
            <a:r>
              <a:rPr sz="32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32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меттан</a:t>
            </a:r>
            <a:r>
              <a:rPr sz="32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sz="32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литературин</a:t>
            </a:r>
            <a:r>
              <a:rPr sz="32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32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хьехархочун</a:t>
            </a:r>
            <a:r>
              <a:rPr sz="32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</a:p>
          <a:p>
            <a:pPr algn="ctr" defTabSz="266700">
              <a:lnSpc>
                <a:spcPct val="100000"/>
              </a:lnSpc>
            </a:pPr>
            <a:r>
              <a:rPr sz="32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белхан</a:t>
            </a:r>
            <a:r>
              <a:rPr sz="32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32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алгоритм</a:t>
            </a:r>
            <a:r>
              <a:rPr sz="32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</a:p>
        </p:txBody>
      </p:sp>
      <p:pic>
        <p:nvPicPr>
          <p:cNvPr id="7" name="Рисунок 6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580" y="203933"/>
            <a:ext cx="1381760" cy="1381760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Рисунок 7" descr="C:\Users\User\Desktop\channels4_profile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61078" y="363660"/>
            <a:ext cx="1248410" cy="124841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/>
          <p:nvPr/>
        </p:nvGraphicFramePr>
        <p:xfrm>
          <a:off x="150447" y="906537"/>
          <a:ext cx="11680190" cy="56089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2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03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898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10069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1049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800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</a:t>
                      </a:r>
                    </a:p>
                    <a:p>
                      <a:pPr>
                        <a:buNone/>
                      </a:pPr>
                      <a:r>
                        <a:rPr lang="ru-RU" sz="1800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</a:t>
                      </a:r>
                      <a:r>
                        <a:rPr lang="en-US" altLang="en-US" sz="1800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ru-RU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ссаш </a:t>
                      </a:r>
                    </a:p>
                  </a:txBody>
                  <a:tcPr vert="vert270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altLang="en-US" sz="180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en-US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ллу</a:t>
                      </a:r>
                      <a:r>
                        <a:rPr lang="en-US" altLang="ru-RU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арш</a:t>
                      </a:r>
                    </a:p>
                  </a:txBody>
                  <a:tcP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altLang="en-US" sz="180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en-US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ххадоран</a:t>
                      </a:r>
                      <a:r>
                        <a:rPr lang="en-US" altLang="ru-RU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итереш</a:t>
                      </a:r>
                    </a:p>
                  </a:txBody>
                  <a:tcP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0405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altLang="en-US" sz="1800" b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4</a:t>
                      </a:r>
                    </a:p>
                  </a:txBody>
                  <a:tcP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ru-RU" altLang="en-US" sz="1800" b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шнаш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ложенеш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айн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рамца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altLang="en-US" sz="1800" b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r>
                        <a:rPr lang="en-US" altLang="ru-RU" sz="1800" b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шал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Ӏезиг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ru-RU" sz="1800" b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altLang="en-US" sz="1800" b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en-US" altLang="ru-RU" sz="1800" b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шал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в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оцу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ксташ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йса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хьайазйан</a:t>
                      </a:r>
                    </a:p>
                  </a:txBody>
                  <a:tcP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buNone/>
                      </a:pP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Белхан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мах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хадабо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цхьана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оценкица</a:t>
                      </a:r>
                      <a:endParaRPr lang="en-US" altLang="en-US" sz="1800" b="1" dirty="0">
                        <a:solidFill>
                          <a:srgbClr val="2B8313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  <a:sym typeface="+mn-ea"/>
                      </a:endParaRPr>
                    </a:p>
                    <a:p>
                      <a:pPr algn="just">
                        <a:buNone/>
                      </a:pPr>
                      <a:r>
                        <a:rPr lang="en-US" altLang="en-US" sz="1800" b="1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айо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ч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ха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къ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штт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Ӏ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кх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кх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algn="just">
                        <a:buNone/>
                      </a:pPr>
                      <a:endParaRPr lang="en-US" altLang="ru-RU" sz="500" dirty="0">
                        <a:solidFill>
                          <a:srgbClr val="C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buNone/>
                      </a:pPr>
                      <a:r>
                        <a:rPr lang="en-US" altLang="en-US" sz="1800" b="1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айо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2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3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у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4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algn="just">
                        <a:buNone/>
                      </a:pP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о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и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3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га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ар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укъа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къон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лахь</a:t>
                      </a:r>
                      <a:r>
                        <a:rPr lang="ru-RU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>
                        <a:buNone/>
                      </a:pPr>
                      <a:endParaRPr lang="en-US" altLang="en-US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buNone/>
                      </a:pPr>
                      <a:r>
                        <a:rPr lang="en-US" altLang="en-US" sz="1800" b="1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айо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3–5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4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ч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ха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algn="just">
                        <a:buNone/>
                      </a:pP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штт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о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и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6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6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га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ар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укхар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укъа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кх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къон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ла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>
                        <a:buNone/>
                      </a:pPr>
                      <a:endParaRPr lang="en-US" alt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buNone/>
                      </a:pPr>
                      <a:r>
                        <a:rPr lang="en-US" altLang="en-US" sz="1800" b="1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айо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га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х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Ӏ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ор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рама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в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лахь</a:t>
                      </a:r>
                      <a:endParaRPr lang="ru-RU" altLang="en-US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0" y="120972"/>
            <a:ext cx="12192000" cy="668645"/>
          </a:xfrm>
          <a:prstGeom prst="rect">
            <a:avLst/>
          </a:prstGeom>
          <a:solidFill>
            <a:srgbClr val="006600"/>
          </a:solidFill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170" algn="just">
              <a:lnSpc>
                <a:spcPct val="107000"/>
              </a:lnSpc>
              <a:spcAft>
                <a:spcPts val="0"/>
              </a:spcAft>
            </a:pPr>
            <a:endParaRPr lang="ru-RU" sz="500" b="1" dirty="0" smtClean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266700">
              <a:lnSpc>
                <a:spcPct val="107000"/>
              </a:lnSpc>
            </a:pPr>
            <a:r>
              <a:rPr lang="ru-RU" sz="2400" b="1" dirty="0" smtClean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  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Нохчий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метта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белха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маххадора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критереш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</a:p>
          <a:p>
            <a:pPr marL="90170" algn="just">
              <a:lnSpc>
                <a:spcPct val="107000"/>
              </a:lnSpc>
              <a:spcAft>
                <a:spcPts val="0"/>
              </a:spcAft>
            </a:pPr>
            <a:r>
              <a:rPr lang="ru-RU" sz="500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500" b="1" dirty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/>
          <p:nvPr/>
        </p:nvGraphicFramePr>
        <p:xfrm>
          <a:off x="317500" y="941705"/>
          <a:ext cx="11680190" cy="58597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2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03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898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10069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1049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</a:t>
                      </a:r>
                    </a:p>
                    <a:p>
                      <a:pPr>
                        <a:buNone/>
                      </a:pPr>
                      <a:r>
                        <a:rPr lang="ru-RU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</a:t>
                      </a:r>
                      <a:r>
                        <a:rPr lang="en-US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ru-RU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ссаш </a:t>
                      </a:r>
                    </a:p>
                  </a:txBody>
                  <a:tcPr vert="vert270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altLang="en-US" sz="180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en-US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ллу</a:t>
                      </a:r>
                      <a:r>
                        <a:rPr lang="en-US" altLang="ru-RU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арш</a:t>
                      </a:r>
                    </a:p>
                  </a:txBody>
                  <a:tcP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altLang="en-US" sz="180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en-US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ххадоран</a:t>
                      </a:r>
                      <a:r>
                        <a:rPr lang="en-US" altLang="ru-RU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итереш</a:t>
                      </a:r>
                    </a:p>
                  </a:txBody>
                  <a:tcP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0405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altLang="en-US" sz="1800" b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1</a:t>
                      </a:r>
                    </a:p>
                  </a:txBody>
                  <a:tcP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ru-RU" altLang="en-US" sz="1800" b="1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lang="en-US" altLang="ru-RU" sz="1800" b="1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–</a:t>
                      </a:r>
                      <a:r>
                        <a:rPr lang="ru-RU" altLang="en-US" sz="1800" b="1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altLang="en-US" sz="1800" b="1" dirty="0">
                        <a:solidFill>
                          <a:srgbClr val="C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илгалйаьккхинчу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мина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ешначу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кстан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ха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Ӏехь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изведенин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улацамца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гӀуш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</a:p>
                    <a:p>
                      <a:pPr>
                        <a:buNone/>
                      </a:pP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–8</a:t>
                      </a:r>
                      <a:r>
                        <a:rPr lang="en-US" altLang="ru-RU" sz="1800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ложенел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Ӏезиг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у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озанан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о</a:t>
                      </a:r>
                      <a:endParaRPr lang="en-US" altLang="en-US" sz="1800" dirty="0">
                        <a:solidFill>
                          <a:srgbClr val="C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buNone/>
                      </a:pP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мица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гӀуш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илар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ма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 smtClean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хьайеллар</a:t>
                      </a:r>
                      <a:endParaRPr lang="en-US" altLang="en-US" sz="1800" b="1" dirty="0">
                        <a:solidFill>
                          <a:srgbClr val="2B8313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buNone/>
                      </a:pP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</a:t>
                      </a:r>
                      <a:r>
                        <a:rPr lang="en-US" altLang="en-US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–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миц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гӀу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йс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жамӀ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улоц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>
                        <a:buNone/>
                      </a:pP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en-US" altLang="en-US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–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миц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укъ</a:t>
                      </a:r>
                      <a:r>
                        <a:rPr lang="en-US" altLang="ru-RU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гӀу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у</a:t>
                      </a:r>
                      <a:r>
                        <a:rPr lang="en-US" altLang="ru-RU" sz="18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м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укъ</a:t>
                      </a:r>
                      <a:r>
                        <a:rPr lang="en-US" altLang="ru-RU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хьайилли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>
                        <a:buNone/>
                      </a:pP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 </a:t>
                      </a:r>
                      <a:r>
                        <a:rPr lang="en-US" altLang="en-US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– 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миц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гӀу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ц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>
                        <a:buNone/>
                      </a:pP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ьӀнин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 smtClean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алла</a:t>
                      </a:r>
                      <a:endParaRPr lang="en-US" altLang="ru-RU" sz="1800" b="1" dirty="0">
                        <a:solidFill>
                          <a:srgbClr val="2B8313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buNone/>
                      </a:pP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en-US" altLang="en-US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–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ьӀни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аллиц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ъаьст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algn="just">
                        <a:buNone/>
                      </a:pP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 </a:t>
                      </a:r>
                      <a:r>
                        <a:rPr lang="en-US" altLang="en-US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–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ьӀни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алл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ац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ец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ьӀ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лу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ц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>
                        <a:buNone/>
                      </a:pP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ъамелан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взалла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йса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илар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smtClean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endParaRPr lang="en-US" altLang="ru-RU" sz="1800" b="1" dirty="0">
                        <a:solidFill>
                          <a:srgbClr val="2B8313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buNone/>
                      </a:pP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</a:t>
                      </a:r>
                      <a:r>
                        <a:rPr lang="en-US" altLang="en-US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–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ъамел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взалли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т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ирс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йс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ржар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хамашц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гӀу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ъамел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ц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algn="just">
                        <a:buNone/>
                      </a:pP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en-US" altLang="en-US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–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ъамел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взалли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хамашц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гӀу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м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ъамел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т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ирс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ржар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кх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хачамбацар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algn="just">
                        <a:buNone/>
                      </a:pP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 </a:t>
                      </a:r>
                      <a:r>
                        <a:rPr lang="en-US" altLang="en-US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–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шний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ьа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ъе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иларц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ъаьст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ъамел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>
                        <a:buNone/>
                      </a:pPr>
                      <a:r>
                        <a:rPr lang="en-US" altLang="en-US" sz="1800" b="1" dirty="0" err="1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аккхара</a:t>
                      </a: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л</a:t>
                      </a: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–</a:t>
                      </a:r>
                      <a:r>
                        <a:rPr lang="en-US" altLang="ru-RU" sz="1800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</a:t>
                      </a:r>
                      <a:r>
                        <a:rPr lang="en-US" altLang="en-US" sz="1800" b="1" dirty="0" err="1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л</a:t>
                      </a:r>
                      <a:r>
                        <a:rPr lang="ru-RU" altLang="en-US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en-US" altLang="ru-RU" sz="1800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algn="just">
                        <a:buNone/>
                      </a:pP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лх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ххадор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даме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ц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з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рам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га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рам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ил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зачу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ахар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ла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аьхнач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л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</a:t>
                      </a:r>
                      <a:r>
                        <a:rPr lang="en-US" altLang="ru-RU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р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</a:t>
                      </a: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</a:t>
                      </a:r>
                      <a:r>
                        <a:rPr lang="en-US" altLang="ru-RU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йоккху</a:t>
                      </a:r>
                      <a:endParaRPr lang="en-US" altLang="en-US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0" y="129764"/>
            <a:ext cx="12192000" cy="668645"/>
          </a:xfrm>
          <a:prstGeom prst="rect">
            <a:avLst/>
          </a:prstGeom>
          <a:solidFill>
            <a:srgbClr val="006600"/>
          </a:solidFill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170" algn="just">
              <a:lnSpc>
                <a:spcPct val="107000"/>
              </a:lnSpc>
              <a:spcAft>
                <a:spcPts val="0"/>
              </a:spcAft>
            </a:pPr>
            <a:endParaRPr lang="ru-RU" sz="500" b="1" dirty="0" smtClean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266700">
              <a:lnSpc>
                <a:spcPct val="107000"/>
              </a:lnSpc>
            </a:pPr>
            <a:r>
              <a:rPr lang="ru-RU" sz="2400" b="1" dirty="0" smtClean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  5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.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Нохчий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литератури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белха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маххадора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критереш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</a:p>
          <a:p>
            <a:pPr marL="90170" algn="just">
              <a:lnSpc>
                <a:spcPct val="107000"/>
              </a:lnSpc>
              <a:spcAft>
                <a:spcPts val="0"/>
              </a:spcAft>
            </a:pPr>
            <a:r>
              <a:rPr lang="ru-RU" sz="500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500" b="1" dirty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/>
          <p:nvPr/>
        </p:nvGraphicFramePr>
        <p:xfrm>
          <a:off x="149469" y="879231"/>
          <a:ext cx="11857453" cy="587326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761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858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2762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22363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107441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800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</a:t>
                      </a:r>
                    </a:p>
                    <a:p>
                      <a:pPr>
                        <a:buNone/>
                      </a:pPr>
                      <a:r>
                        <a:rPr lang="ru-RU" sz="1800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</a:t>
                      </a:r>
                      <a:r>
                        <a:rPr lang="en-US" altLang="en-US" sz="1800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ru-RU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ссаш </a:t>
                      </a:r>
                    </a:p>
                  </a:txBody>
                  <a:tcPr vert="vert270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altLang="en-US" sz="180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en-US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ллу</a:t>
                      </a:r>
                      <a:r>
                        <a:rPr lang="en-US" altLang="ru-RU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арш</a:t>
                      </a:r>
                    </a:p>
                  </a:txBody>
                  <a:tcP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altLang="en-US" sz="180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en-US" altLang="en-US" sz="1800" dirty="0" err="1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ххадоран</a:t>
                      </a:r>
                      <a:r>
                        <a:rPr lang="en-US" altLang="ru-RU" sz="1800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итереш</a:t>
                      </a:r>
                      <a:endParaRPr lang="en-US" altLang="en-US" sz="180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6582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altLang="en-US" sz="1800" b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1</a:t>
                      </a:r>
                    </a:p>
                  </a:txBody>
                  <a:tcP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ru-RU" altLang="en-US" sz="1800" b="1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r>
                        <a:rPr lang="en-US" altLang="ru-RU" sz="1800" b="1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–</a:t>
                      </a:r>
                      <a:r>
                        <a:rPr lang="ru-RU" altLang="en-US" sz="1800" b="1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altLang="en-US" sz="1800" b="1" dirty="0">
                        <a:solidFill>
                          <a:srgbClr val="C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илгалйаьккхинчу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мина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ешначу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кстан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уха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Ӏехь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изведенин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улацамца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гӀуш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ru-RU" altLang="en-US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аххара</a:t>
                      </a:r>
                      <a:r>
                        <a:rPr lang="ru-RU" altLang="en-US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ru-RU" sz="1800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–</a:t>
                      </a:r>
                      <a:r>
                        <a:rPr lang="ru-RU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ложенел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Ӏезиг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у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озанан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о</a:t>
                      </a:r>
                      <a:endParaRPr lang="en-US" altLang="en-US" sz="1800" dirty="0">
                        <a:solidFill>
                          <a:srgbClr val="C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buNone/>
                      </a:pP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мица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гӀуш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илар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ма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 smtClean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хьайеллар</a:t>
                      </a:r>
                      <a:endParaRPr lang="en-US" altLang="en-US" sz="1800" b="1" dirty="0">
                        <a:solidFill>
                          <a:srgbClr val="2B8313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buNone/>
                      </a:pP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</a:t>
                      </a:r>
                      <a:r>
                        <a:rPr lang="en-US" altLang="en-US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–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миц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гӀу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йс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жамӀ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улоц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>
                        <a:buNone/>
                      </a:pP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en-US" altLang="en-US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–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миц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укъ</a:t>
                      </a:r>
                      <a:r>
                        <a:rPr lang="en-US" altLang="ru-RU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гӀу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у</a:t>
                      </a:r>
                      <a:r>
                        <a:rPr lang="en-US" altLang="ru-RU" sz="18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/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м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укъ</a:t>
                      </a:r>
                      <a:r>
                        <a:rPr lang="en-US" altLang="ru-RU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р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хьайилли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>
                        <a:buNone/>
                      </a:pP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 </a:t>
                      </a:r>
                      <a:r>
                        <a:rPr lang="en-US" altLang="en-US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– 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миц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гӀу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ц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>
                        <a:buNone/>
                      </a:pP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ьӀнин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 smtClean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алла</a:t>
                      </a:r>
                      <a:endParaRPr lang="en-US" altLang="ru-RU" sz="1800" b="1" dirty="0">
                        <a:solidFill>
                          <a:srgbClr val="2B8313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buNone/>
                      </a:pP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en-US" altLang="en-US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–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ьӀни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аллиц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ъаьст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algn="just">
                        <a:buNone/>
                      </a:pP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 </a:t>
                      </a:r>
                      <a:r>
                        <a:rPr lang="en-US" altLang="en-US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–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ьӀни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алл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ац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ец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ьӀ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лу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ц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>
                        <a:buNone/>
                      </a:pP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ъамелан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взалла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йса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илар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smtClean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endParaRPr lang="en-US" altLang="ru-RU" sz="1800" b="1" dirty="0">
                        <a:solidFill>
                          <a:srgbClr val="2B8313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buNone/>
                      </a:pP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 </a:t>
                      </a:r>
                      <a:r>
                        <a:rPr lang="en-US" altLang="en-US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–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ъамел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взалли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т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ирс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йс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ржар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хамашц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гӀу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ъамел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ц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algn="just">
                        <a:buNone/>
                      </a:pP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en-US" altLang="en-US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–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ъамел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взалли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ехамашц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гӀу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мм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ъамел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етт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ирс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ржар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кх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хачамбацар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algn="just">
                        <a:buNone/>
                      </a:pP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 </a:t>
                      </a:r>
                      <a:r>
                        <a:rPr lang="en-US" altLang="en-US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–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шний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ьа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ъе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иларц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ъаьст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ъамел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>
                        <a:buNone/>
                      </a:pPr>
                      <a:r>
                        <a:rPr lang="en-US" altLang="en-US" sz="1800" b="1" dirty="0" err="1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аккхара</a:t>
                      </a: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л</a:t>
                      </a: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–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</a:t>
                      </a:r>
                      <a:r>
                        <a:rPr lang="en-US" altLang="en-US" sz="1800" b="1" dirty="0" err="1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л</a:t>
                      </a:r>
                      <a:r>
                        <a:rPr lang="ru-RU" altLang="en-US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algn="just">
                        <a:buNone/>
                      </a:pP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лх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ххадор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идаме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ц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з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лар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рам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га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рам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ил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зачу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лахар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ла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аьхнач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л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</a:t>
                      </a:r>
                      <a:r>
                        <a:rPr lang="en-US" altLang="ru-RU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р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</a:t>
                      </a:r>
                      <a:r>
                        <a:rPr lang="en-US" altLang="ru-RU" sz="1800" b="1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</a:t>
                      </a:r>
                      <a:r>
                        <a:rPr lang="en-US" altLang="ru-RU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йоккху</a:t>
                      </a:r>
                      <a:endParaRPr lang="en-US" altLang="en-US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0" y="129764"/>
            <a:ext cx="12192000" cy="668645"/>
          </a:xfrm>
          <a:prstGeom prst="rect">
            <a:avLst/>
          </a:prstGeom>
          <a:solidFill>
            <a:srgbClr val="006600"/>
          </a:solidFill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170" algn="just">
              <a:lnSpc>
                <a:spcPct val="107000"/>
              </a:lnSpc>
              <a:spcAft>
                <a:spcPts val="0"/>
              </a:spcAft>
            </a:pPr>
            <a:endParaRPr lang="ru-RU" sz="500" b="1" dirty="0" smtClean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266700">
              <a:lnSpc>
                <a:spcPct val="107000"/>
              </a:lnSpc>
            </a:pPr>
            <a:r>
              <a:rPr lang="ru-RU" sz="2400" b="1" dirty="0" smtClean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  </a:t>
            </a:r>
            <a:r>
              <a:rPr lang="ru-RU" sz="2400" b="1" dirty="0" err="1" smtClean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Нохчийн</a:t>
            </a:r>
            <a:r>
              <a:rPr lang="ru-RU" sz="2400" b="1" dirty="0" smtClean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литератури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белха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маххадора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критереш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</a:p>
          <a:p>
            <a:pPr marL="90170" algn="just">
              <a:lnSpc>
                <a:spcPct val="107000"/>
              </a:lnSpc>
              <a:spcAft>
                <a:spcPts val="0"/>
              </a:spcAft>
            </a:pPr>
            <a:r>
              <a:rPr lang="ru-RU" sz="500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500" b="1" dirty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47346" y="4197650"/>
            <a:ext cx="11087100" cy="12778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Четверть 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йа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триместр 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чекхйолуш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етрадаш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Ӏ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е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х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Ӏ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ттийна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ценкаш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вовшахтухий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йуккъера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балл 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билгалйоккху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 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Иза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журнал 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Ӏ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ехь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четвертан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йа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риместран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ценкина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хьалха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йолчу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колонки чу 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д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Ӏ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ах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Ӏ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ттайо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.  </a:t>
            </a:r>
            <a:endParaRPr lang="ru-RU" sz="2400" b="1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1416539" y="1352712"/>
          <a:ext cx="8128000" cy="202260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064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6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err="1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лаш</a:t>
                      </a:r>
                      <a:endParaRPr lang="ru-RU" sz="240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endParaRPr lang="ru-RU" sz="240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indent="11112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5 балл</a:t>
                      </a:r>
                      <a:endParaRPr lang="ru-RU" sz="24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indent="10795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5</a:t>
                      </a:r>
                      <a:endParaRPr lang="ru-RU" sz="24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indent="11112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4 балл</a:t>
                      </a:r>
                      <a:endParaRPr lang="ru-RU" sz="24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indent="10795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4</a:t>
                      </a:r>
                      <a:endParaRPr lang="ru-RU" sz="24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indent="11112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3 балл</a:t>
                      </a:r>
                      <a:endParaRPr lang="ru-RU" sz="24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indent="10795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3</a:t>
                      </a:r>
                      <a:endParaRPr lang="ru-RU" sz="24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indent="11112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 0</a:t>
                      </a:r>
                      <a:r>
                        <a:rPr lang="ru-RU" sz="2000" b="1" dirty="0" smtClean="0">
                          <a:solidFill>
                            <a:srgbClr val="FF0000"/>
                          </a:solidFill>
                        </a:rPr>
                        <a:t>–</a:t>
                      </a:r>
                      <a:r>
                        <a:rPr lang="ru-RU" sz="2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 балл</a:t>
                      </a:r>
                      <a:endParaRPr lang="ru-RU" sz="24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indent="10795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2400" b="1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 2</a:t>
                      </a:r>
                      <a:endParaRPr lang="ru-RU" sz="2400" b="1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Прямоугольник 5"/>
          <p:cNvSpPr/>
          <p:nvPr/>
        </p:nvSpPr>
        <p:spPr>
          <a:xfrm>
            <a:off x="0" y="129764"/>
            <a:ext cx="12192000" cy="668645"/>
          </a:xfrm>
          <a:prstGeom prst="rect">
            <a:avLst/>
          </a:prstGeom>
          <a:solidFill>
            <a:srgbClr val="006600"/>
          </a:solidFill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170" algn="just">
              <a:lnSpc>
                <a:spcPct val="107000"/>
              </a:lnSpc>
              <a:spcAft>
                <a:spcPts val="0"/>
              </a:spcAft>
            </a:pPr>
            <a:endParaRPr lang="ru-RU" sz="500" b="1" dirty="0" smtClean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28600" indent="-408940" algn="ctr">
              <a:lnSpc>
                <a:spcPct val="107000"/>
              </a:lnSpc>
              <a:spcAft>
                <a:spcPts val="0"/>
              </a:spcAft>
            </a:pPr>
            <a:r>
              <a:rPr lang="ru-RU" sz="2400" b="1" dirty="0" err="1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Баллаш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пхеабалла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тӀегӀане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йахар</a:t>
            </a:r>
            <a:endParaRPr lang="ru-RU" sz="2400" dirty="0">
              <a:solidFill>
                <a:schemeClr val="bg1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90170" algn="just">
              <a:lnSpc>
                <a:spcPct val="107000"/>
              </a:lnSpc>
              <a:spcAft>
                <a:spcPts val="0"/>
              </a:spcAft>
            </a:pPr>
            <a:r>
              <a:rPr lang="ru-RU" sz="500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500" b="1" dirty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738554" y="2112312"/>
            <a:ext cx="1113106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)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лаев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хьмад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«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Ӏехтохар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.</a:t>
            </a:r>
          </a:p>
          <a:p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)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дуев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ьӀид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«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емсаш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.</a:t>
            </a:r>
          </a:p>
          <a:p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)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айсултанов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Ӏумар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«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Ӏанталг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.</a:t>
            </a:r>
          </a:p>
          <a:p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)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ракаев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ьамзат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«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ирачу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Ӏопехь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. </a:t>
            </a:r>
          </a:p>
          <a:p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)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амсудинов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увайсар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«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ималлин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ьйренаш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.</a:t>
            </a:r>
          </a:p>
          <a:p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) Саидов Саид-Селим «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жйелла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ехатан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уьрг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.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738554" y="474637"/>
            <a:ext cx="10410092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tabLst>
                <a:tab pos="4062095" algn="r"/>
              </a:tabLst>
            </a:pPr>
            <a:endParaRPr lang="ru-RU" sz="2400" b="1" dirty="0" smtClean="0">
              <a:solidFill>
                <a:srgbClr val="2B8313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lvl="0" algn="ctr">
              <a:tabLst>
                <a:tab pos="4062095" algn="r"/>
              </a:tabLst>
            </a:pPr>
            <a:endParaRPr lang="ru-RU" sz="100" b="1" dirty="0">
              <a:solidFill>
                <a:srgbClr val="2B8313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lvl="0" algn="ctr">
              <a:tabLst>
                <a:tab pos="4062095" algn="r"/>
              </a:tabLst>
            </a:pP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5</a:t>
            </a:r>
            <a:r>
              <a:rPr lang="ru-RU" sz="2400" b="1" dirty="0" smtClean="0">
                <a:solidFill>
                  <a:srgbClr val="FF0000"/>
                </a:solidFill>
              </a:rPr>
              <a:t>–</a:t>
            </a: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6 </a:t>
            </a:r>
            <a:r>
              <a:rPr lang="ru-RU" sz="2400" b="1" dirty="0" err="1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классаш</a:t>
            </a:r>
            <a:endParaRPr lang="ru-RU" sz="2400" dirty="0">
              <a:solidFill>
                <a:srgbClr val="2B8313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lvl="0">
              <a:tabLst>
                <a:tab pos="4062095" algn="r"/>
              </a:tabLst>
            </a:pPr>
            <a:r>
              <a:rPr lang="ru-RU" sz="500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 </a:t>
            </a:r>
            <a:endParaRPr lang="ru-RU" sz="1100" dirty="0">
              <a:solidFill>
                <a:srgbClr val="00000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0"/>
            <a:ext cx="12192000" cy="620747"/>
          </a:xfrm>
          <a:prstGeom prst="rect">
            <a:avLst/>
          </a:prstGeom>
          <a:solidFill>
            <a:srgbClr val="006600"/>
          </a:solidFill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170" algn="just">
              <a:lnSpc>
                <a:spcPct val="107000"/>
              </a:lnSpc>
              <a:spcAft>
                <a:spcPts val="0"/>
              </a:spcAft>
            </a:pPr>
            <a:endParaRPr lang="ru-RU" sz="500" b="1" dirty="0" smtClean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indent="-540385" algn="ctr">
              <a:tabLst>
                <a:tab pos="4062095" algn="r"/>
              </a:tabLst>
            </a:pPr>
            <a:r>
              <a:rPr lang="ru-RU" sz="2400" b="1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ДЕШАРХОШНА ШАЬШ ЙЕША ПРОИЗВЕДЕНЕШ </a:t>
            </a:r>
          </a:p>
          <a:p>
            <a:pPr marL="90170" algn="just">
              <a:lnSpc>
                <a:spcPct val="107000"/>
              </a:lnSpc>
              <a:spcAft>
                <a:spcPts val="0"/>
              </a:spcAft>
            </a:pPr>
            <a:r>
              <a:rPr lang="ru-RU" sz="500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500" b="1" dirty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436684" y="1929943"/>
            <a:ext cx="11755316" cy="2873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0"/>
              </a:spcAft>
              <a:tabLst>
                <a:tab pos="4062095" algn="r"/>
              </a:tabLst>
            </a:pPr>
            <a:r>
              <a:rPr lang="ru-RU" sz="700" dirty="0">
                <a:latin typeface="Times New Roman" panose="02020603050405020304" pitchFamily="18" charset="0"/>
                <a:ea typeface="Times New Roman" panose="02020603050405020304" pitchFamily="18" charset="0"/>
              </a:rPr>
              <a:t> </a:t>
            </a:r>
            <a:endParaRPr lang="ru-RU" sz="1100" dirty="0"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r>
              <a:rPr lang="ru-RU" sz="1050" b="1" dirty="0"/>
              <a:t> </a:t>
            </a:r>
            <a:endParaRPr lang="ru-RU" sz="1050" dirty="0"/>
          </a:p>
          <a:p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) Мусаев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хьмад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«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ймин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ийболат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.</a:t>
            </a:r>
          </a:p>
          <a:p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) Хамидов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Ӏабдул-Хьамид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«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бубешар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.</a:t>
            </a:r>
          </a:p>
          <a:p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)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йдамиров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бузар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«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холламан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хьа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е».</a:t>
            </a:r>
          </a:p>
          <a:p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)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хмадов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уса «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чӀа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.</a:t>
            </a:r>
          </a:p>
          <a:p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5)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ексултанов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уса «Дика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у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ьо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луш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.</a:t>
            </a:r>
          </a:p>
          <a:p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6) Хамидов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Ӏабдул-Хьамид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«Экзамен </a:t>
            </a:r>
            <a:r>
              <a:rPr lang="ru-RU" sz="24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аттар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.</a:t>
            </a:r>
          </a:p>
          <a:p>
            <a:pPr algn="just">
              <a:lnSpc>
                <a:spcPct val="107000"/>
              </a:lnSpc>
              <a:spcAft>
                <a:spcPts val="0"/>
              </a:spcAft>
              <a:tabLst>
                <a:tab pos="4225290" algn="r"/>
              </a:tabLst>
            </a:pPr>
            <a:r>
              <a:rPr lang="ru-RU" dirty="0">
                <a:solidFill>
                  <a:srgbClr val="00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36330" y="729614"/>
            <a:ext cx="9741877" cy="9694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tabLst>
                <a:tab pos="4062095" algn="r"/>
              </a:tabLst>
            </a:pPr>
            <a:endParaRPr lang="ru-RU" sz="800" b="1" dirty="0" smtClean="0">
              <a:solidFill>
                <a:srgbClr val="2B8313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lvl="0" algn="ctr">
              <a:tabLst>
                <a:tab pos="4062095" algn="r"/>
              </a:tabLst>
            </a:pP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7</a:t>
            </a:r>
            <a:r>
              <a:rPr lang="ru-RU" sz="2400" b="1" dirty="0" smtClean="0">
                <a:solidFill>
                  <a:srgbClr val="FF0000"/>
                </a:solidFill>
              </a:rPr>
              <a:t>–</a:t>
            </a: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8 </a:t>
            </a:r>
            <a:r>
              <a:rPr lang="ru-RU" sz="2400" b="1" dirty="0" err="1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классаш</a:t>
            </a:r>
            <a:endParaRPr lang="ru-RU" sz="2400" dirty="0">
              <a:solidFill>
                <a:srgbClr val="FF0000"/>
              </a:solidFill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lvl="0">
              <a:tabLst>
                <a:tab pos="4062095" algn="r"/>
              </a:tabLst>
            </a:pPr>
            <a:r>
              <a:rPr lang="ru-RU" sz="2400" dirty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 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0" y="108867"/>
            <a:ext cx="12192000" cy="620747"/>
          </a:xfrm>
          <a:prstGeom prst="rect">
            <a:avLst/>
          </a:prstGeom>
          <a:solidFill>
            <a:srgbClr val="006600"/>
          </a:solidFill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170" algn="just">
              <a:lnSpc>
                <a:spcPct val="107000"/>
              </a:lnSpc>
              <a:spcAft>
                <a:spcPts val="0"/>
              </a:spcAft>
            </a:pPr>
            <a:endParaRPr lang="ru-RU" sz="500" b="1" dirty="0" smtClean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0" indent="-540385" algn="ctr">
              <a:tabLst>
                <a:tab pos="4062095" algn="r"/>
              </a:tabLst>
            </a:pPr>
            <a:r>
              <a:rPr lang="ru-RU" sz="2400" b="1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</a:rPr>
              <a:t>ДЕШАРХОШНА ШАЬШ ЙЕША ПРОИЗВЕДЕНЕШ </a:t>
            </a:r>
          </a:p>
          <a:p>
            <a:pPr marL="90170" algn="just">
              <a:lnSpc>
                <a:spcPct val="107000"/>
              </a:lnSpc>
              <a:spcAft>
                <a:spcPts val="0"/>
              </a:spcAft>
            </a:pPr>
            <a:r>
              <a:rPr lang="ru-RU" sz="500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500" b="1" dirty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овое поле 2"/>
          <p:cNvSpPr txBox="1"/>
          <p:nvPr/>
        </p:nvSpPr>
        <p:spPr>
          <a:xfrm>
            <a:off x="105459" y="0"/>
            <a:ext cx="11826240" cy="373634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just" defTabSz="266700"/>
            <a:endParaRPr lang="ru-RU" sz="2400" b="1" dirty="0" smtClean="0">
              <a:solidFill>
                <a:srgbClr val="2B8313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just" defTabSz="266700"/>
            <a:endParaRPr lang="ru-RU" sz="2400" b="1" dirty="0">
              <a:solidFill>
                <a:srgbClr val="2B8313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just" defTabSz="266700"/>
            <a:r>
              <a:rPr sz="2400" b="1" dirty="0" smtClean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5–8 </a:t>
            </a:r>
            <a:r>
              <a:rPr sz="24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классийн</a:t>
            </a:r>
            <a:r>
              <a:rPr sz="24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дешархойн</a:t>
            </a:r>
            <a:r>
              <a:rPr sz="24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нохчийн</a:t>
            </a:r>
            <a:r>
              <a:rPr sz="24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меттан</a:t>
            </a:r>
            <a:r>
              <a:rPr sz="24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sz="24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литературин</a:t>
            </a:r>
            <a:r>
              <a:rPr sz="24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 err="1" smtClean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хаарш</a:t>
            </a:r>
            <a:r>
              <a:rPr sz="2400" b="1" dirty="0" smtClean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 err="1" smtClean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кхиоран</a:t>
            </a:r>
            <a:r>
              <a:rPr sz="2400" b="1" dirty="0" smtClean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кепаш</a:t>
            </a:r>
            <a:r>
              <a:rPr sz="24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кхачаме</a:t>
            </a:r>
            <a:r>
              <a:rPr sz="24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йалор</a:t>
            </a:r>
            <a:r>
              <a:rPr sz="2400" b="1" dirty="0" smtClean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:</a:t>
            </a:r>
            <a:endParaRPr lang="ru-RU" sz="2400" b="1" dirty="0" smtClean="0">
              <a:solidFill>
                <a:srgbClr val="2B8313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just" defTabSz="266700"/>
            <a:endParaRPr sz="100" b="1" dirty="0">
              <a:solidFill>
                <a:srgbClr val="2B8313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just" defTabSz="266700"/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–</a:t>
            </a:r>
            <a:r>
              <a:rPr sz="2400" dirty="0">
                <a:solidFill>
                  <a:srgbClr val="1D41D5"/>
                </a:solidFill>
                <a:latin typeface="Calibri" panose="020F0502020204030204"/>
                <a:ea typeface="Calibri" panose="020F0502020204030204"/>
              </a:rPr>
              <a:t> 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ешнаш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предложенеш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шай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барамца</a:t>
            </a:r>
            <a:r>
              <a:rPr sz="24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90</a:t>
            </a:r>
            <a:r>
              <a:rPr sz="24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ашал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кӀезиг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а,</a:t>
            </a:r>
            <a:r>
              <a:rPr sz="24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100</a:t>
            </a:r>
            <a:r>
              <a:rPr sz="24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ашал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сов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а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йоцу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тексташ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нийс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схьайазйа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(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5</a:t>
            </a:r>
            <a:r>
              <a:rPr sz="2400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-чу </a:t>
            </a:r>
            <a:r>
              <a:rPr sz="2400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классийн</a:t>
            </a:r>
            <a:r>
              <a:rPr sz="2400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дешархошна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);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endParaRPr lang="ru-RU" sz="2400" dirty="0" smtClean="0">
              <a:solidFill>
                <a:srgbClr val="1D41D5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just" defTabSz="266700"/>
            <a:r>
              <a:rPr lang="ru-RU" sz="800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___________________________________________________________________________________________________________________________________________________________________________________________________________________________________</a:t>
            </a:r>
            <a:endParaRPr sz="2400" dirty="0">
              <a:solidFill>
                <a:srgbClr val="FF0000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just" defTabSz="266700"/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–</a:t>
            </a:r>
            <a:r>
              <a:rPr sz="2400" dirty="0">
                <a:solidFill>
                  <a:srgbClr val="1D41D5"/>
                </a:solidFill>
                <a:latin typeface="Calibri" panose="020F0502020204030204"/>
                <a:ea typeface="Calibri" panose="020F0502020204030204"/>
              </a:rPr>
              <a:t> 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ешнаш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предложенеш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шай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барамца</a:t>
            </a:r>
            <a:r>
              <a:rPr sz="24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100</a:t>
            </a:r>
            <a:r>
              <a:rPr sz="24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ашал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кӀезиг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а,</a:t>
            </a:r>
            <a:r>
              <a:rPr sz="24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110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ашал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сов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а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йоцу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тексташ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нийс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схьайазйа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(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6</a:t>
            </a:r>
            <a:r>
              <a:rPr sz="2400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-чу </a:t>
            </a:r>
            <a:r>
              <a:rPr sz="2400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классийн</a:t>
            </a:r>
            <a:r>
              <a:rPr sz="2400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дешархошна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);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endParaRPr lang="ru-RU" sz="2400" dirty="0" smtClean="0">
              <a:solidFill>
                <a:srgbClr val="1D41D5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just" defTabSz="266700"/>
            <a:r>
              <a:rPr lang="ru-RU" sz="600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  <a:endParaRPr sz="800" dirty="0">
              <a:solidFill>
                <a:srgbClr val="FF0000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just" defTabSz="266700"/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–</a:t>
            </a:r>
            <a:r>
              <a:rPr sz="2400" dirty="0">
                <a:solidFill>
                  <a:srgbClr val="FF0000"/>
                </a:solidFill>
                <a:latin typeface="Calibri" panose="020F0502020204030204"/>
                <a:ea typeface="Calibri" panose="020F0502020204030204"/>
              </a:rPr>
              <a:t> 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ешнаш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предложенеш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шай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барамца</a:t>
            </a:r>
            <a:r>
              <a:rPr sz="24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110</a:t>
            </a:r>
            <a:r>
              <a:rPr sz="24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ашал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кӀезиг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а, 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120</a:t>
            </a:r>
            <a:r>
              <a:rPr sz="24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ашал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сов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а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йоцу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тексташ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нийс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схьайазйа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(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7</a:t>
            </a:r>
            <a:r>
              <a:rPr sz="2400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-чу </a:t>
            </a:r>
            <a:r>
              <a:rPr sz="2400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классийн</a:t>
            </a:r>
            <a:r>
              <a:rPr sz="2400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дешархошна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);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100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  <a:sym typeface="+mn-ea"/>
              </a:rPr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  <a:endParaRPr lang="ru-RU" sz="100" dirty="0" smtClean="0">
              <a:solidFill>
                <a:srgbClr val="FF0000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just" defTabSz="266700"/>
            <a:r>
              <a:rPr lang="ru-RU" sz="100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  <a:sym typeface="+mn-ea"/>
              </a:rPr>
              <a:t>_________</a:t>
            </a:r>
            <a:r>
              <a:rPr lang="ru-RU" dirty="0">
                <a:solidFill>
                  <a:srgbClr val="FF0000"/>
                </a:solidFill>
                <a:latin typeface="Calibri" panose="020F0502020204030204"/>
                <a:ea typeface="Calibri" panose="020F0502020204030204"/>
                <a:sym typeface="+mn-ea"/>
              </a:rPr>
              <a:t>_________________</a:t>
            </a:r>
            <a:r>
              <a:rPr lang="ru-RU" sz="100" dirty="0">
                <a:solidFill>
                  <a:srgbClr val="FF0000"/>
                </a:solidFill>
                <a:latin typeface="Calibri" panose="020F0502020204030204"/>
                <a:ea typeface="Calibri" panose="020F0502020204030204"/>
                <a:sym typeface="+mn-ea"/>
              </a:rPr>
              <a:t>_____</a:t>
            </a:r>
            <a:r>
              <a:rPr lang="ru-RU" dirty="0">
                <a:solidFill>
                  <a:srgbClr val="FF0000"/>
                </a:solidFill>
                <a:latin typeface="Calibri" panose="020F0502020204030204"/>
                <a:ea typeface="Calibri" panose="020F0502020204030204"/>
                <a:sym typeface="+mn-ea"/>
              </a:rPr>
              <a:t>____________________________________________________________________________________ 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  <a:sym typeface="+mn-ea"/>
              </a:rPr>
              <a:t>–</a:t>
            </a:r>
            <a:r>
              <a:rPr sz="2400" dirty="0">
                <a:solidFill>
                  <a:srgbClr val="FF0000"/>
                </a:solidFill>
                <a:latin typeface="Calibri" panose="020F0502020204030204"/>
                <a:ea typeface="Calibri" panose="020F0502020204030204"/>
                <a:sym typeface="+mn-ea"/>
              </a:rPr>
              <a:t> </a:t>
            </a:r>
            <a:r>
              <a:rPr sz="2400" dirty="0" err="1">
                <a:latin typeface="Times New Roman" panose="02020603050405020304"/>
                <a:ea typeface="Times New Roman" panose="02020603050405020304"/>
                <a:sym typeface="+mn-ea"/>
              </a:rPr>
              <a:t>дешнаш</a:t>
            </a:r>
            <a:r>
              <a:rPr sz="2400" dirty="0">
                <a:latin typeface="Times New Roman" panose="02020603050405020304"/>
                <a:ea typeface="Times New Roman" panose="02020603050405020304"/>
                <a:sym typeface="+mn-ea"/>
              </a:rPr>
              <a:t>, </a:t>
            </a:r>
            <a:r>
              <a:rPr sz="2400" dirty="0" err="1">
                <a:latin typeface="Times New Roman" panose="02020603050405020304"/>
                <a:ea typeface="Times New Roman" panose="02020603050405020304"/>
                <a:sym typeface="+mn-ea"/>
              </a:rPr>
              <a:t>предложенеш</a:t>
            </a:r>
            <a:r>
              <a:rPr sz="2400" dirty="0">
                <a:latin typeface="Times New Roman" panose="02020603050405020304"/>
                <a:ea typeface="Times New Roman" panose="02020603050405020304"/>
                <a:sym typeface="+mn-ea"/>
              </a:rPr>
              <a:t>, </a:t>
            </a:r>
            <a:r>
              <a:rPr sz="2400" dirty="0" err="1">
                <a:latin typeface="Times New Roman" panose="02020603050405020304"/>
                <a:ea typeface="Times New Roman" panose="02020603050405020304"/>
                <a:sym typeface="+mn-ea"/>
              </a:rPr>
              <a:t>шайн</a:t>
            </a:r>
            <a:r>
              <a:rPr sz="2400" dirty="0">
                <a:latin typeface="Times New Roman" panose="02020603050405020304"/>
                <a:ea typeface="Times New Roman" panose="02020603050405020304"/>
                <a:sym typeface="+mn-ea"/>
              </a:rPr>
              <a:t> </a:t>
            </a:r>
            <a:r>
              <a:rPr sz="2400" dirty="0" err="1">
                <a:latin typeface="Times New Roman" panose="02020603050405020304"/>
                <a:ea typeface="Times New Roman" panose="02020603050405020304"/>
                <a:sym typeface="+mn-ea"/>
              </a:rPr>
              <a:t>барамца</a:t>
            </a:r>
            <a:r>
              <a:rPr sz="2400" dirty="0">
                <a:latin typeface="Times New Roman" panose="02020603050405020304"/>
                <a:ea typeface="Times New Roman" panose="02020603050405020304"/>
                <a:sym typeface="+mn-ea"/>
              </a:rPr>
              <a:t> 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  <a:sym typeface="+mn-ea"/>
              </a:rPr>
              <a:t>120</a:t>
            </a:r>
            <a:r>
              <a:rPr sz="2400" dirty="0">
                <a:latin typeface="Times New Roman" panose="02020603050405020304"/>
                <a:ea typeface="Times New Roman" panose="02020603050405020304"/>
                <a:sym typeface="+mn-ea"/>
              </a:rPr>
              <a:t> </a:t>
            </a:r>
            <a:r>
              <a:rPr sz="2400" dirty="0" err="1">
                <a:latin typeface="Times New Roman" panose="02020603050405020304"/>
                <a:ea typeface="Times New Roman" panose="02020603050405020304"/>
                <a:sym typeface="+mn-ea"/>
              </a:rPr>
              <a:t>дашал</a:t>
            </a:r>
            <a:r>
              <a:rPr sz="2400" dirty="0">
                <a:latin typeface="Times New Roman" panose="02020603050405020304"/>
                <a:ea typeface="Times New Roman" panose="02020603050405020304"/>
                <a:sym typeface="+mn-ea"/>
              </a:rPr>
              <a:t> </a:t>
            </a:r>
            <a:r>
              <a:rPr sz="2400" dirty="0" err="1">
                <a:latin typeface="Times New Roman" panose="02020603050405020304"/>
                <a:ea typeface="Times New Roman" panose="02020603050405020304"/>
                <a:sym typeface="+mn-ea"/>
              </a:rPr>
              <a:t>кӀезиг</a:t>
            </a:r>
            <a:r>
              <a:rPr sz="2400" dirty="0">
                <a:latin typeface="Times New Roman" panose="02020603050405020304"/>
                <a:ea typeface="Times New Roman" panose="02020603050405020304"/>
                <a:sym typeface="+mn-ea"/>
              </a:rPr>
              <a:t> а,</a:t>
            </a:r>
            <a:r>
              <a:rPr sz="24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  <a:sym typeface="+mn-ea"/>
              </a:rPr>
              <a:t> 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  <a:sym typeface="+mn-ea"/>
              </a:rPr>
              <a:t>140</a:t>
            </a:r>
            <a:r>
              <a:rPr sz="2400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  <a:sym typeface="+mn-ea"/>
              </a:rPr>
              <a:t> </a:t>
            </a:r>
            <a:r>
              <a:rPr sz="2400" dirty="0" err="1">
                <a:latin typeface="Times New Roman" panose="02020603050405020304"/>
                <a:ea typeface="Times New Roman" panose="02020603050405020304"/>
                <a:sym typeface="+mn-ea"/>
              </a:rPr>
              <a:t>дашал</a:t>
            </a:r>
            <a:r>
              <a:rPr sz="2400" dirty="0">
                <a:latin typeface="Times New Roman" panose="02020603050405020304"/>
                <a:ea typeface="Times New Roman" panose="02020603050405020304"/>
                <a:sym typeface="+mn-ea"/>
              </a:rPr>
              <a:t> </a:t>
            </a:r>
            <a:r>
              <a:rPr sz="2400" dirty="0" err="1">
                <a:latin typeface="Times New Roman" panose="02020603050405020304"/>
                <a:ea typeface="Times New Roman" panose="02020603050405020304"/>
                <a:sym typeface="+mn-ea"/>
              </a:rPr>
              <a:t>сов</a:t>
            </a:r>
            <a:r>
              <a:rPr sz="2400" dirty="0">
                <a:latin typeface="Times New Roman" panose="02020603050405020304"/>
                <a:ea typeface="Times New Roman" panose="02020603050405020304"/>
                <a:sym typeface="+mn-ea"/>
              </a:rPr>
              <a:t> а </a:t>
            </a:r>
            <a:r>
              <a:rPr sz="2400" dirty="0" err="1">
                <a:latin typeface="Times New Roman" panose="02020603050405020304"/>
                <a:ea typeface="Times New Roman" panose="02020603050405020304"/>
                <a:sym typeface="+mn-ea"/>
              </a:rPr>
              <a:t>йоцу</a:t>
            </a:r>
            <a:r>
              <a:rPr sz="2400" dirty="0">
                <a:latin typeface="Times New Roman" panose="02020603050405020304"/>
                <a:ea typeface="Times New Roman" panose="02020603050405020304"/>
                <a:sym typeface="+mn-ea"/>
              </a:rPr>
              <a:t> </a:t>
            </a:r>
            <a:r>
              <a:rPr sz="2400" dirty="0" err="1">
                <a:latin typeface="Times New Roman" panose="02020603050405020304"/>
                <a:ea typeface="Times New Roman" panose="02020603050405020304"/>
                <a:sym typeface="+mn-ea"/>
              </a:rPr>
              <a:t>тексташ</a:t>
            </a:r>
            <a:r>
              <a:rPr sz="2400" dirty="0">
                <a:latin typeface="Times New Roman" panose="02020603050405020304"/>
                <a:ea typeface="Times New Roman" panose="02020603050405020304"/>
                <a:sym typeface="+mn-ea"/>
              </a:rPr>
              <a:t> </a:t>
            </a:r>
            <a:r>
              <a:rPr sz="2400" dirty="0" err="1">
                <a:latin typeface="Times New Roman" panose="02020603050405020304"/>
                <a:ea typeface="Times New Roman" panose="02020603050405020304"/>
                <a:sym typeface="+mn-ea"/>
              </a:rPr>
              <a:t>нийса</a:t>
            </a:r>
            <a:r>
              <a:rPr sz="2400" dirty="0">
                <a:latin typeface="Times New Roman" panose="02020603050405020304"/>
                <a:ea typeface="Times New Roman" panose="02020603050405020304"/>
                <a:sym typeface="+mn-ea"/>
              </a:rPr>
              <a:t> </a:t>
            </a:r>
            <a:r>
              <a:rPr sz="2400" dirty="0" err="1">
                <a:latin typeface="Times New Roman" panose="02020603050405020304"/>
                <a:ea typeface="Times New Roman" panose="02020603050405020304"/>
                <a:sym typeface="+mn-ea"/>
              </a:rPr>
              <a:t>схьайазйан</a:t>
            </a:r>
            <a:r>
              <a:rPr sz="2400" dirty="0">
                <a:latin typeface="Times New Roman" panose="02020603050405020304"/>
                <a:ea typeface="Times New Roman" panose="02020603050405020304"/>
                <a:sym typeface="+mn-ea"/>
              </a:rPr>
              <a:t> (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  <a:sym typeface="+mn-ea"/>
              </a:rPr>
              <a:t>8</a:t>
            </a:r>
            <a:r>
              <a:rPr sz="2400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  <a:sym typeface="+mn-ea"/>
              </a:rPr>
              <a:t>-чу </a:t>
            </a:r>
            <a:r>
              <a:rPr sz="2400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  <a:sym typeface="+mn-ea"/>
              </a:rPr>
              <a:t>классийн</a:t>
            </a:r>
            <a:r>
              <a:rPr sz="2400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  <a:sym typeface="+mn-ea"/>
              </a:rPr>
              <a:t> </a:t>
            </a:r>
            <a:r>
              <a:rPr sz="2400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  <a:sym typeface="+mn-ea"/>
              </a:rPr>
              <a:t>дешархошна</a:t>
            </a:r>
            <a:r>
              <a:rPr sz="2400" dirty="0">
                <a:latin typeface="Times New Roman" panose="02020603050405020304"/>
                <a:ea typeface="Times New Roman" panose="02020603050405020304"/>
                <a:sym typeface="+mn-ea"/>
              </a:rPr>
              <a:t>);</a:t>
            </a:r>
            <a:endParaRPr sz="2400" dirty="0">
              <a:solidFill>
                <a:srgbClr val="1D41D5"/>
              </a:solidFill>
              <a:latin typeface="Times New Roman" panose="02020603050405020304"/>
              <a:ea typeface="Times New Roman" panose="02020603050405020304"/>
            </a:endParaRPr>
          </a:p>
          <a:p>
            <a:pPr defTabSz="266700"/>
            <a:r>
              <a:rPr lang="ru-RU" sz="100" smtClean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_____</a:t>
            </a:r>
            <a:r>
              <a:rPr lang="ru-RU" sz="10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  <a:r>
              <a:rPr lang="ru-RU" sz="100" smtClean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_______</a:t>
            </a:r>
            <a:endParaRPr smtClean="0">
              <a:solidFill>
                <a:srgbClr val="1D41D5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just" defTabSz="266700"/>
            <a:r>
              <a:rPr lang="ru-RU" sz="50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_</a:t>
            </a:r>
            <a:r>
              <a:rPr lang="ru-RU" sz="600" b="1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  <a:endParaRPr lang="ru-RU" sz="1600" b="1" dirty="0" smtClean="0">
              <a:solidFill>
                <a:srgbClr val="FF0000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just" defTabSz="266700"/>
            <a:endParaRPr sz="500" b="1" dirty="0">
              <a:solidFill>
                <a:srgbClr val="2B8313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just" defTabSz="266700"/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–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йеллачу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темин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йешначу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текста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бух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тӀехь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произведени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чулацамц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огӀуш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endParaRPr sz="2400" dirty="0">
              <a:solidFill>
                <a:srgbClr val="1D41D5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just" defTabSz="266700"/>
            <a:r>
              <a:rPr sz="2400" b="1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5</a:t>
            </a: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–</a:t>
            </a:r>
            <a:r>
              <a:rPr sz="2400" b="1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8</a:t>
            </a:r>
            <a:r>
              <a:rPr sz="2400" dirty="0" smtClean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предложенел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кӀезиг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оцу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йозана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аларш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хӀитто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(</a:t>
            </a:r>
            <a:r>
              <a:rPr sz="2400" b="1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5</a:t>
            </a: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–</a:t>
            </a:r>
            <a:r>
              <a:rPr sz="2400" b="1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6</a:t>
            </a:r>
            <a:r>
              <a:rPr sz="2400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классийн</a:t>
            </a:r>
            <a:r>
              <a:rPr sz="2400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дешархошна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);</a:t>
            </a:r>
            <a:endParaRPr lang="ru-RU" sz="2400" dirty="0" smtClean="0">
              <a:solidFill>
                <a:srgbClr val="1D41D5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just" defTabSz="266700"/>
            <a:r>
              <a:rPr lang="ru-RU" sz="700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_____________________________________________________________________________________________________________________________________________________________________________________________________________________________________________________________________</a:t>
            </a:r>
            <a:endParaRPr sz="700" dirty="0">
              <a:solidFill>
                <a:srgbClr val="FF0000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just" defTabSz="266700"/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–</a:t>
            </a:r>
            <a:r>
              <a:rPr sz="24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йеллачу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темин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йешначу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текста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бух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тӀехь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произведени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чулацамц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огӀуш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,</a:t>
            </a:r>
            <a:endParaRPr sz="2400" dirty="0">
              <a:solidFill>
                <a:srgbClr val="1D41D5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just" defTabSz="266700"/>
            <a:r>
              <a:rPr sz="24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8</a:t>
            </a: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–</a:t>
            </a:r>
            <a:r>
              <a:rPr sz="2400" b="1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10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предложенел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кӀезиг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оцу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йозана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аларш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хӀитто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(</a:t>
            </a:r>
            <a:r>
              <a:rPr sz="2400" b="1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7</a:t>
            </a: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–</a:t>
            </a:r>
            <a:r>
              <a:rPr sz="2400" b="1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8</a:t>
            </a:r>
            <a:r>
              <a:rPr sz="2400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классийн</a:t>
            </a:r>
            <a:r>
              <a:rPr sz="2400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дешархошн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).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0" y="96520"/>
            <a:ext cx="12192000" cy="652166"/>
          </a:xfrm>
          <a:prstGeom prst="rect">
            <a:avLst/>
          </a:prstGeom>
          <a:solidFill>
            <a:srgbClr val="006600"/>
          </a:solidFill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170" algn="just">
              <a:lnSpc>
                <a:spcPct val="107000"/>
              </a:lnSpc>
              <a:spcAft>
                <a:spcPts val="0"/>
              </a:spcAft>
            </a:pPr>
            <a:endParaRPr lang="ru-RU" sz="500" b="1" dirty="0" smtClean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266700">
              <a:lnSpc>
                <a:spcPct val="107000"/>
              </a:lnSpc>
            </a:pP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smtClean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Arial Unicode MS" panose="020B0604020202020204" charset="-122"/>
              </a:rPr>
              <a:t>Ӏалашо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Arial Unicode MS" panose="020B0604020202020204" charset="-122"/>
              </a:rPr>
              <a:t>: </a:t>
            </a:r>
          </a:p>
          <a:p>
            <a:pPr defTabSz="266700">
              <a:lnSpc>
                <a:spcPct val="107000"/>
              </a:lnSpc>
            </a:pPr>
            <a:endParaRPr lang="ru-RU" sz="100" b="1" dirty="0">
              <a:solidFill>
                <a:schemeClr val="bg1"/>
              </a:solidFill>
              <a:latin typeface="Times New Roman" panose="02020603050405020304"/>
              <a:ea typeface="Calibri" panose="020F0502020204030204"/>
            </a:endParaRPr>
          </a:p>
          <a:p>
            <a:pPr marL="90170" algn="just">
              <a:lnSpc>
                <a:spcPct val="107000"/>
              </a:lnSpc>
              <a:spcAft>
                <a:spcPts val="0"/>
              </a:spcAft>
            </a:pPr>
            <a:r>
              <a:rPr lang="ru-RU" sz="400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400" b="1" dirty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овое поле 1"/>
          <p:cNvSpPr txBox="1"/>
          <p:nvPr/>
        </p:nvSpPr>
        <p:spPr>
          <a:xfrm>
            <a:off x="142240" y="317500"/>
            <a:ext cx="12116435" cy="13081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 defTabSz="266700">
              <a:lnSpc>
                <a:spcPct val="100000"/>
              </a:lnSpc>
            </a:pPr>
            <a:r>
              <a:rPr sz="1100" dirty="0">
                <a:latin typeface="Times New Roman" panose="02020603050405020304"/>
                <a:ea typeface="Times New Roman" panose="02020603050405020304"/>
              </a:rPr>
              <a:t> </a:t>
            </a:r>
          </a:p>
          <a:p>
            <a:pPr algn="ctr" defTabSz="266700">
              <a:lnSpc>
                <a:spcPct val="100000"/>
              </a:lnSpc>
            </a:pPr>
            <a:endParaRPr lang="ru-RU" sz="2400" b="1" dirty="0" smtClean="0">
              <a:solidFill>
                <a:srgbClr val="2B8313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ctr" defTabSz="266700">
              <a:lnSpc>
                <a:spcPct val="100000"/>
              </a:lnSpc>
            </a:pPr>
            <a:r>
              <a:rPr sz="2400" b="1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1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. </a:t>
            </a:r>
            <a:r>
              <a:rPr sz="2400" b="1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Нохчийн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меттан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sz="2400" b="1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литературин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тӀетоьхна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белхаш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кхочушбархьама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дешархошкахь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</a:p>
          <a:p>
            <a:pPr algn="ctr" defTabSz="266700">
              <a:lnSpc>
                <a:spcPct val="100000"/>
              </a:lnSpc>
            </a:pPr>
            <a:r>
              <a:rPr sz="2400" b="1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хила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деза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хӀокху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барамехь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тетрадаш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: </a:t>
            </a:r>
          </a:p>
          <a:p>
            <a:pPr algn="just" defTabSz="266700">
              <a:lnSpc>
                <a:spcPct val="107000"/>
              </a:lnSpc>
            </a:pPr>
            <a:r>
              <a:rPr sz="1600" b="1" dirty="0">
                <a:latin typeface="Times New Roman" panose="02020603050405020304"/>
                <a:ea typeface="Times New Roman" panose="02020603050405020304"/>
              </a:rPr>
              <a:t> 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0" y="98944"/>
            <a:ext cx="12192000" cy="661720"/>
          </a:xfrm>
          <a:prstGeom prst="rect">
            <a:avLst/>
          </a:prstGeom>
          <a:solidFill>
            <a:srgbClr val="FF0000"/>
          </a:solidFill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266700"/>
            <a:endParaRPr lang="ru-RU" sz="500" b="1" dirty="0" smtClean="0">
              <a:solidFill>
                <a:schemeClr val="bg1"/>
              </a:solidFill>
              <a:latin typeface="Times New Roman" panose="02020603050405020304"/>
              <a:ea typeface="Times New Roman" panose="02020603050405020304"/>
            </a:endParaRPr>
          </a:p>
          <a:p>
            <a:pPr lvl="0" algn="ctr" defTabSz="266700"/>
            <a:r>
              <a:rPr lang="ru-RU" sz="2600" b="1" dirty="0" err="1" smtClean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Нохчийн</a:t>
            </a:r>
            <a:r>
              <a:rPr lang="ru-RU" sz="2600" b="1" dirty="0" smtClean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6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меттан</a:t>
            </a:r>
            <a:r>
              <a:rPr lang="ru-RU" sz="26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lang="ru-RU" sz="26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литературин</a:t>
            </a:r>
            <a:r>
              <a:rPr lang="ru-RU" sz="26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6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хьехархочун</a:t>
            </a:r>
            <a:r>
              <a:rPr lang="ru-RU" sz="26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6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болх</a:t>
            </a:r>
            <a:r>
              <a:rPr lang="ru-RU" sz="26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6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кхочушбарехь</a:t>
            </a:r>
            <a:r>
              <a:rPr lang="ru-RU" sz="26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600" b="1" dirty="0" err="1" smtClean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рекомендацеш</a:t>
            </a:r>
            <a:endParaRPr lang="ru-RU" sz="2600" b="1" dirty="0" smtClean="0">
              <a:solidFill>
                <a:schemeClr val="bg1"/>
              </a:solidFill>
              <a:latin typeface="Times New Roman" panose="02020603050405020304"/>
              <a:ea typeface="Times New Roman" panose="02020603050405020304"/>
            </a:endParaRPr>
          </a:p>
          <a:p>
            <a:pPr lvl="0" algn="ctr" defTabSz="266700"/>
            <a:endParaRPr lang="ru-RU" sz="500" b="1" dirty="0">
              <a:solidFill>
                <a:schemeClr val="bg1"/>
              </a:solidFill>
              <a:latin typeface="Times New Roman" panose="02020603050405020304"/>
              <a:ea typeface="Times New Roman" panose="02020603050405020304"/>
            </a:endParaRPr>
          </a:p>
        </p:txBody>
      </p:sp>
      <p:sp>
        <p:nvSpPr>
          <p:cNvPr id="4" name="Текстовое поле 3"/>
          <p:cNvSpPr txBox="1"/>
          <p:nvPr/>
        </p:nvSpPr>
        <p:spPr>
          <a:xfrm>
            <a:off x="70802" y="3039942"/>
            <a:ext cx="12050395" cy="3358134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ctr">
              <a:lnSpc>
                <a:spcPct val="100000"/>
              </a:lnSpc>
            </a:pPr>
            <a:endParaRPr lang="ru-RU" sz="1600" b="1" dirty="0" smtClean="0">
              <a:solidFill>
                <a:srgbClr val="2B8313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ctr">
              <a:lnSpc>
                <a:spcPct val="100000"/>
              </a:lnSpc>
            </a:pPr>
            <a:r>
              <a:rPr sz="2000" b="1" dirty="0" err="1" smtClean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Дешархоша</a:t>
            </a:r>
            <a:r>
              <a:rPr sz="2000" b="1" dirty="0" smtClean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0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пайдаоьцу</a:t>
            </a:r>
            <a:r>
              <a:rPr sz="20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12–18 </a:t>
            </a:r>
            <a:r>
              <a:rPr sz="20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кехатах</a:t>
            </a:r>
            <a:r>
              <a:rPr sz="20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0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лаьттачу</a:t>
            </a:r>
            <a:r>
              <a:rPr sz="20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0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шуьйра</a:t>
            </a:r>
            <a:r>
              <a:rPr sz="20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0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могӀанаш</a:t>
            </a:r>
            <a:r>
              <a:rPr sz="20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0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долчу</a:t>
            </a:r>
            <a:r>
              <a:rPr sz="20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0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стандартни</a:t>
            </a:r>
            <a:r>
              <a:rPr sz="20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0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тетрадех</a:t>
            </a:r>
            <a:r>
              <a:rPr sz="20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.</a:t>
            </a:r>
            <a:endParaRPr sz="2000" b="1" dirty="0">
              <a:latin typeface="Times New Roman" panose="02020603050405020304"/>
              <a:ea typeface="Times New Roman" panose="02020603050405020304"/>
            </a:endParaRPr>
          </a:p>
          <a:p>
            <a:pPr algn="ctr" defTabSz="266700">
              <a:lnSpc>
                <a:spcPct val="100000"/>
              </a:lnSpc>
            </a:pPr>
            <a:endParaRPr sz="1000" b="1" dirty="0">
              <a:latin typeface="Times New Roman" panose="02020603050405020304"/>
              <a:ea typeface="Times New Roman" panose="02020603050405020304"/>
            </a:endParaRPr>
          </a:p>
          <a:p>
            <a:pPr algn="ctr" defTabSz="266700">
              <a:lnSpc>
                <a:spcPct val="100000"/>
              </a:lnSpc>
            </a:pPr>
            <a:r>
              <a:rPr sz="20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Предметан</a:t>
            </a:r>
            <a:r>
              <a:rPr sz="20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0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тетрадь</a:t>
            </a:r>
            <a:r>
              <a:rPr sz="20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0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цӀена</a:t>
            </a:r>
            <a:r>
              <a:rPr sz="20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0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лело</a:t>
            </a:r>
            <a:r>
              <a:rPr sz="20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0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деза</a:t>
            </a:r>
            <a:r>
              <a:rPr sz="20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. </a:t>
            </a:r>
            <a:r>
              <a:rPr lang="ru-RU" sz="20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0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Цуьнан</a:t>
            </a:r>
            <a:r>
              <a:rPr sz="20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0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мужалта</a:t>
            </a:r>
            <a:r>
              <a:rPr sz="20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0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тӀехь</a:t>
            </a:r>
            <a:r>
              <a:rPr sz="20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0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хила</a:t>
            </a:r>
            <a:r>
              <a:rPr sz="20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0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дезачу</a:t>
            </a:r>
            <a:r>
              <a:rPr sz="20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0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йозанан</a:t>
            </a:r>
            <a:r>
              <a:rPr sz="20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000" b="1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кеп</a:t>
            </a:r>
            <a:r>
              <a:rPr sz="2000" b="1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:</a:t>
            </a:r>
            <a:endParaRPr sz="2000" b="1" dirty="0">
              <a:latin typeface="Times New Roman" panose="02020603050405020304"/>
              <a:ea typeface="Times New Roman" panose="02020603050405020304"/>
            </a:endParaRPr>
          </a:p>
          <a:p>
            <a:pPr algn="ctr" defTabSz="266700">
              <a:lnSpc>
                <a:spcPct val="100000"/>
              </a:lnSpc>
            </a:pPr>
            <a:endParaRPr lang="ru-RU" sz="500" b="1" dirty="0" smtClean="0">
              <a:solidFill>
                <a:srgbClr val="1D41D5"/>
              </a:solidFill>
              <a:latin typeface="Times New Roman" panose="02020603050405020304"/>
              <a:ea typeface="Times New Roman" panose="02020603050405020304"/>
            </a:endParaRP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1547495" y="1919605"/>
          <a:ext cx="9490075" cy="13899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137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931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0831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542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ea typeface="Times New Roman" panose="02020603050405020304"/>
                          <a:cs typeface="Times New Roman" panose="02020603050405020304" pitchFamily="18" charset="0"/>
                        </a:rPr>
                        <a:t>№ </a:t>
                      </a:r>
                      <a:endParaRPr lang="ru-RU" sz="2000" b="1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ea typeface="Times New Roman" panose="02020603050405020304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/>
                        <a:buNone/>
                        <a:defRPr/>
                      </a:pP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ea typeface="Times New Roman" panose="02020603050405020304"/>
                          <a:cs typeface="Times New Roman" panose="02020603050405020304" pitchFamily="18" charset="0"/>
                        </a:rPr>
                        <a:t>Предмет</a:t>
                      </a: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/>
                        <a:buNone/>
                        <a:defRPr/>
                      </a:pP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ea typeface="Times New Roman" panose="02020603050405020304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lang="ru-RU" sz="2000" b="1" i="0" u="none" strike="noStrike" cap="none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Arial" panose="020B0604020202020204"/>
                        </a:rPr>
                        <a:t>–</a:t>
                      </a: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ea typeface="Times New Roman" panose="02020603050405020304"/>
                          <a:cs typeface="Times New Roman" panose="02020603050405020304" pitchFamily="18" charset="0"/>
                        </a:rPr>
                        <a:t>8 </a:t>
                      </a: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ea typeface="Times New Roman" panose="02020603050405020304"/>
                          <a:cs typeface="Times New Roman" panose="02020603050405020304" pitchFamily="18" charset="0"/>
                        </a:rPr>
                        <a:t>классаш</a:t>
                      </a:r>
                      <a:endParaRPr lang="ru-RU" sz="2000" b="1" dirty="0" smtClean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ea typeface="Times New Roman" panose="02020603050405020304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93982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2000" b="1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</a:pP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ea typeface="Times New Roman" panose="02020603050405020304"/>
                          <a:cs typeface="Times New Roman" panose="02020603050405020304" pitchFamily="18" charset="0"/>
                        </a:rPr>
                        <a:t>   </a:t>
                      </a: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ea typeface="Times New Roman" panose="02020603050405020304"/>
                          <a:cs typeface="Times New Roman" panose="02020603050405020304" pitchFamily="18" charset="0"/>
                        </a:rPr>
                        <a:t>Нохчийн</a:t>
                      </a: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ea typeface="Times New Roman" panose="02020603050405020304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ea typeface="Times New Roman" panose="02020603050405020304"/>
                          <a:cs typeface="Times New Roman" panose="02020603050405020304" pitchFamily="18" charset="0"/>
                        </a:rPr>
                        <a:t>мотт</a:t>
                      </a:r>
                      <a:endParaRPr lang="ru-RU" sz="2000" b="1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ea typeface="Times New Roman" panose="02020603050405020304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       1 тетрадь</a:t>
                      </a:r>
                      <a:endParaRPr lang="ru-RU" sz="2000" b="1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41785"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2000" b="1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/>
                        <a:buNone/>
                        <a:defRPr/>
                      </a:pP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ea typeface="Times New Roman" panose="02020603050405020304"/>
                          <a:cs typeface="Times New Roman" panose="02020603050405020304" pitchFamily="18" charset="0"/>
                        </a:rPr>
                        <a:t>   </a:t>
                      </a: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ea typeface="Times New Roman" panose="02020603050405020304"/>
                          <a:cs typeface="Times New Roman" panose="02020603050405020304" pitchFamily="18" charset="0"/>
                        </a:rPr>
                        <a:t>Нохчийн</a:t>
                      </a: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ea typeface="Times New Roman" panose="02020603050405020304"/>
                          <a:cs typeface="Times New Roman" panose="02020603050405020304" pitchFamily="18" charset="0"/>
                        </a:rPr>
                        <a:t> литература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/>
                        <a:buNone/>
                        <a:defRPr/>
                      </a:pPr>
                      <a:endParaRPr lang="ru-RU" sz="800" b="1" dirty="0" smtClean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ea typeface="Times New Roman" panose="02020603050405020304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       1 тетрадь</a:t>
                      </a:r>
                      <a:endParaRPr lang="ru-RU" sz="2000" b="1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0" y="814863"/>
            <a:ext cx="12192000" cy="984885"/>
          </a:xfrm>
          <a:prstGeom prst="rect">
            <a:avLst/>
          </a:prstGeom>
          <a:solidFill>
            <a:srgbClr val="006600"/>
          </a:solidFill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266700"/>
            <a:endParaRPr lang="ru-RU" sz="500" b="1" dirty="0" smtClean="0">
              <a:solidFill>
                <a:schemeClr val="bg1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ctr" defTabSz="266700">
              <a:lnSpc>
                <a:spcPct val="100000"/>
              </a:lnSpc>
            </a:pP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1.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Нохчий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метта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литератури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тӀетоьхна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белхаш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кхочушбархьама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дешархошкахь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</a:p>
          <a:p>
            <a:pPr algn="ctr" defTabSz="266700">
              <a:lnSpc>
                <a:spcPct val="100000"/>
              </a:lnSpc>
            </a:pP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хила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деза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хӀокху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барамехь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тетрадаш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: </a:t>
            </a:r>
          </a:p>
          <a:p>
            <a:pPr lvl="0" algn="ctr" defTabSz="266700"/>
            <a:endParaRPr lang="ru-RU" sz="500" b="1" dirty="0">
              <a:solidFill>
                <a:schemeClr val="bg1"/>
              </a:solidFill>
              <a:latin typeface="Times New Roman" panose="02020603050405020304"/>
              <a:ea typeface="Times New Roman" panose="02020603050405020304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1527810" y="4630420"/>
          <a:ext cx="9660255" cy="1920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259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23430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 defTabSz="266700">
                        <a:lnSpc>
                          <a:spcPct val="100000"/>
                        </a:lnSpc>
                      </a:pP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Соьлжа-ГӀалин</a:t>
                      </a: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 № 5 </a:t>
                      </a: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йолчу</a:t>
                      </a: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 </a:t>
                      </a: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гимназин</a:t>
                      </a:r>
                      <a:endParaRPr lang="ru-RU" sz="2000" b="1" dirty="0" smtClean="0">
                        <a:solidFill>
                          <a:srgbClr val="FF0000"/>
                        </a:solidFill>
                        <a:latin typeface="Times New Roman" panose="02020603050405020304"/>
                        <a:ea typeface="Times New Roman" panose="02020603050405020304"/>
                      </a:endParaRPr>
                    </a:p>
                    <a:p>
                      <a:pPr algn="ctr" defTabSz="266700">
                        <a:lnSpc>
                          <a:spcPct val="100000"/>
                        </a:lnSpc>
                      </a:pP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7 А </a:t>
                      </a: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классан</a:t>
                      </a: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 </a:t>
                      </a: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дешархочун</a:t>
                      </a:r>
                      <a:endParaRPr lang="ru-RU" sz="2000" b="1" dirty="0" smtClean="0">
                        <a:solidFill>
                          <a:srgbClr val="FF0000"/>
                        </a:solidFill>
                        <a:latin typeface="Times New Roman" panose="02020603050405020304"/>
                        <a:ea typeface="Times New Roman" panose="02020603050405020304"/>
                      </a:endParaRPr>
                    </a:p>
                    <a:p>
                      <a:pPr algn="ctr" defTabSz="266700">
                        <a:lnSpc>
                          <a:spcPct val="100000"/>
                        </a:lnSpc>
                      </a:pP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Эскиева</a:t>
                      </a: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 </a:t>
                      </a: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Асетан</a:t>
                      </a:r>
                      <a:endParaRPr lang="ru-RU" sz="2000" b="1" dirty="0" smtClean="0">
                        <a:solidFill>
                          <a:srgbClr val="FF0000"/>
                        </a:solidFill>
                        <a:latin typeface="Times New Roman" panose="02020603050405020304"/>
                        <a:ea typeface="Times New Roman" panose="02020603050405020304"/>
                      </a:endParaRPr>
                    </a:p>
                    <a:p>
                      <a:pPr algn="ctr" defTabSz="266700">
                        <a:lnSpc>
                          <a:spcPct val="100000"/>
                        </a:lnSpc>
                      </a:pP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нохчийн</a:t>
                      </a: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 </a:t>
                      </a: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меттан</a:t>
                      </a: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 </a:t>
                      </a:r>
                    </a:p>
                    <a:p>
                      <a:pPr algn="ctr" defTabSz="266700">
                        <a:lnSpc>
                          <a:spcPct val="100000"/>
                        </a:lnSpc>
                      </a:pP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тӀетоьхначу</a:t>
                      </a: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 </a:t>
                      </a: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белхийн</a:t>
                      </a: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 тетрадь</a:t>
                      </a:r>
                    </a:p>
                    <a:p>
                      <a:pPr algn="ctr" defTabSz="266700">
                        <a:lnSpc>
                          <a:spcPct val="100000"/>
                        </a:lnSpc>
                      </a:pPr>
                      <a:endParaRPr lang="ru-RU" sz="2000" b="1" dirty="0" smtClean="0">
                        <a:solidFill>
                          <a:srgbClr val="FF0000"/>
                        </a:solidFill>
                        <a:latin typeface="Times New Roman" panose="02020603050405020304"/>
                        <a:ea typeface="Times New Roman" panose="02020603050405020304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defTabSz="266700">
                        <a:lnSpc>
                          <a:spcPct val="100000"/>
                        </a:lnSpc>
                      </a:pP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Комсомольскера</a:t>
                      </a: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 </a:t>
                      </a: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йуккъерчу</a:t>
                      </a: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 </a:t>
                      </a: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ишколан</a:t>
                      </a:r>
                      <a:endParaRPr lang="ru-RU" sz="2000" b="1" dirty="0" smtClean="0">
                        <a:solidFill>
                          <a:srgbClr val="FF0000"/>
                        </a:solidFill>
                        <a:latin typeface="Times New Roman" panose="02020603050405020304"/>
                        <a:ea typeface="Times New Roman" panose="02020603050405020304"/>
                      </a:endParaRPr>
                    </a:p>
                    <a:p>
                      <a:pPr algn="ctr" defTabSz="266700">
                        <a:lnSpc>
                          <a:spcPct val="100000"/>
                        </a:lnSpc>
                      </a:pP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6 В </a:t>
                      </a: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классан</a:t>
                      </a: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 </a:t>
                      </a: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дешархочун</a:t>
                      </a:r>
                      <a:endParaRPr lang="ru-RU" sz="2000" b="1" dirty="0" smtClean="0">
                        <a:solidFill>
                          <a:srgbClr val="FF0000"/>
                        </a:solidFill>
                        <a:latin typeface="Times New Roman" panose="02020603050405020304"/>
                        <a:ea typeface="Times New Roman" panose="02020603050405020304"/>
                      </a:endParaRPr>
                    </a:p>
                    <a:p>
                      <a:pPr algn="ctr" defTabSz="266700">
                        <a:lnSpc>
                          <a:spcPct val="100000"/>
                        </a:lnSpc>
                      </a:pP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Адамов </a:t>
                      </a: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Аюбан</a:t>
                      </a:r>
                      <a:endParaRPr lang="ru-RU" sz="2000" b="1" dirty="0" smtClean="0">
                        <a:solidFill>
                          <a:srgbClr val="FF0000"/>
                        </a:solidFill>
                        <a:latin typeface="Times New Roman" panose="02020603050405020304"/>
                        <a:ea typeface="Times New Roman" panose="02020603050405020304"/>
                      </a:endParaRPr>
                    </a:p>
                    <a:p>
                      <a:pPr algn="ctr" defTabSz="266700">
                        <a:lnSpc>
                          <a:spcPct val="100000"/>
                        </a:lnSpc>
                      </a:pP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нохчийн</a:t>
                      </a: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 </a:t>
                      </a: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литературин</a:t>
                      </a:r>
                      <a:endParaRPr lang="ru-RU" sz="2000" b="1" dirty="0" smtClean="0">
                        <a:solidFill>
                          <a:srgbClr val="FF0000"/>
                        </a:solidFill>
                        <a:latin typeface="Times New Roman" panose="02020603050405020304"/>
                        <a:ea typeface="Times New Roman" panose="02020603050405020304"/>
                      </a:endParaRPr>
                    </a:p>
                    <a:p>
                      <a:pPr algn="ctr" defTabSz="266700">
                        <a:lnSpc>
                          <a:spcPct val="100000"/>
                        </a:lnSpc>
                      </a:pP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тӀетоьхначу</a:t>
                      </a: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 </a:t>
                      </a:r>
                      <a:r>
                        <a:rPr lang="ru-RU" sz="2000" b="1" dirty="0" err="1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белхийн</a:t>
                      </a:r>
                      <a:r>
                        <a:rPr lang="ru-RU" sz="2000" b="1" dirty="0" smtClean="0">
                          <a:solidFill>
                            <a:srgbClr val="FF0000"/>
                          </a:solidFill>
                          <a:latin typeface="Times New Roman" panose="02020603050405020304"/>
                          <a:ea typeface="Times New Roman" panose="02020603050405020304"/>
                        </a:rPr>
                        <a:t> тетрадь</a:t>
                      </a:r>
                      <a:endParaRPr lang="ru-RU" sz="2000" b="1" dirty="0">
                        <a:solidFill>
                          <a:srgbClr val="FF0000"/>
                        </a:solidFill>
                        <a:latin typeface="Times New Roman" panose="02020603050405020304"/>
                        <a:ea typeface="Times New Roman" panose="02020603050405020304"/>
                      </a:endParaRPr>
                    </a:p>
                  </a:txBody>
                  <a:tcP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овое поле 1"/>
          <p:cNvSpPr txBox="1"/>
          <p:nvPr/>
        </p:nvSpPr>
        <p:spPr>
          <a:xfrm>
            <a:off x="256417" y="247308"/>
            <a:ext cx="11758295" cy="313690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just" defTabSz="266700">
              <a:lnSpc>
                <a:spcPct val="107000"/>
              </a:lnSpc>
            </a:pPr>
            <a:endParaRPr lang="ru-RU" sz="1000" b="1" dirty="0" smtClean="0">
              <a:solidFill>
                <a:srgbClr val="2B8313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just" defTabSz="266700">
              <a:lnSpc>
                <a:spcPct val="107000"/>
              </a:lnSpc>
            </a:pPr>
            <a:endParaRPr lang="ru-RU" sz="1000" b="1" dirty="0">
              <a:solidFill>
                <a:srgbClr val="2B8313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just" defTabSz="266700">
              <a:lnSpc>
                <a:spcPct val="107000"/>
              </a:lnSpc>
            </a:pPr>
            <a:endParaRPr sz="1000" b="1" dirty="0">
              <a:solidFill>
                <a:srgbClr val="2B8313"/>
              </a:solidFill>
              <a:latin typeface="Times New Roman" panose="02020603050405020304"/>
              <a:ea typeface="Times New Roman" panose="02020603050405020304"/>
            </a:endParaRPr>
          </a:p>
          <a:p>
            <a:pPr defTabSz="266700"/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КӀирана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хьалхарчу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урокехь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5</a:t>
            </a:r>
            <a:r>
              <a:rPr sz="2400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-чу </a:t>
            </a:r>
            <a:r>
              <a:rPr sz="2400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классийн</a:t>
            </a:r>
            <a:r>
              <a:rPr sz="2400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дешархошна</a:t>
            </a:r>
            <a:r>
              <a:rPr sz="24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ше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барамц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90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ашал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кӀезиг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а,</a:t>
            </a:r>
            <a:r>
              <a:rPr sz="24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100</a:t>
            </a:r>
            <a:r>
              <a:rPr sz="24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ашал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сов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а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йоцу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текст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ло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цӀахь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 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схьайазйа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. </a:t>
            </a:r>
            <a:r>
              <a:rPr lang="ru-RU" sz="900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________________________________________________________________________________________________________________________________________________________________________________________________________</a:t>
            </a:r>
            <a:endParaRPr sz="2400" dirty="0">
              <a:solidFill>
                <a:srgbClr val="FF0000"/>
              </a:solidFill>
              <a:latin typeface="Times New Roman" panose="02020603050405020304"/>
              <a:ea typeface="Times New Roman" panose="02020603050405020304"/>
            </a:endParaRPr>
          </a:p>
          <a:p>
            <a:pPr defTabSz="266700"/>
            <a:r>
              <a:rPr sz="2400" b="1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6</a:t>
            </a:r>
            <a:r>
              <a:rPr sz="2400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-чу </a:t>
            </a:r>
            <a:r>
              <a:rPr sz="2400" dirty="0" err="1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классийн</a:t>
            </a:r>
            <a:r>
              <a:rPr sz="2400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дешархошна</a:t>
            </a:r>
            <a:r>
              <a:rPr sz="2400" dirty="0" smtClean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шен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барамца</a:t>
            </a:r>
            <a:r>
              <a:rPr sz="2400" dirty="0" smtClean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100</a:t>
            </a:r>
            <a:r>
              <a:rPr sz="2400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ашал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кӀезиг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а,</a:t>
            </a:r>
            <a:r>
              <a:rPr sz="2400" dirty="0" smtClean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110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ашал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сов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а </a:t>
            </a:r>
            <a:r>
              <a:rPr sz="2400" dirty="0" err="1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йоцу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текст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ло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цӀахь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 </a:t>
            </a:r>
            <a:r>
              <a:rPr sz="2400" dirty="0" err="1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схьайазйан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.</a:t>
            </a:r>
          </a:p>
          <a:p>
            <a:pPr defTabSz="266700"/>
            <a:r>
              <a:rPr lang="ru-RU" sz="11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8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________________________________________________________________</a:t>
            </a:r>
            <a:r>
              <a:rPr lang="ru-RU" sz="800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___________________________________________________________________________________________________________________________________________________________________</a:t>
            </a:r>
            <a:r>
              <a:rPr lang="ru-RU" sz="900" dirty="0" smtClean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 </a:t>
            </a:r>
            <a:endParaRPr sz="900" dirty="0" smtClean="0">
              <a:solidFill>
                <a:srgbClr val="1D41D5"/>
              </a:solidFill>
              <a:latin typeface="Times New Roman" panose="02020603050405020304"/>
              <a:ea typeface="Times New Roman" panose="02020603050405020304"/>
            </a:endParaRPr>
          </a:p>
          <a:p>
            <a:pPr defTabSz="266700"/>
            <a:r>
              <a:rPr sz="2400" b="1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7</a:t>
            </a:r>
            <a:r>
              <a:rPr sz="2400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-чу </a:t>
            </a:r>
            <a:r>
              <a:rPr sz="2400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классийн</a:t>
            </a:r>
            <a:r>
              <a:rPr sz="2400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дешархошна</a:t>
            </a:r>
            <a:r>
              <a:rPr sz="24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ше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барамц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110</a:t>
            </a:r>
            <a:r>
              <a:rPr sz="24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ашал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кӀезиг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а,</a:t>
            </a:r>
            <a:r>
              <a:rPr sz="24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120</a:t>
            </a:r>
            <a:r>
              <a:rPr sz="24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ашал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сов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а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йоцу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текст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ло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цӀахь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 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схьайазйа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. </a:t>
            </a:r>
            <a:r>
              <a:rPr lang="ru-RU" sz="1400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__________________________________________________________________________________________________________________________________</a:t>
            </a:r>
            <a:endParaRPr sz="2400" dirty="0">
              <a:solidFill>
                <a:srgbClr val="1D41D5"/>
              </a:solidFill>
              <a:latin typeface="Times New Roman" panose="02020603050405020304"/>
              <a:ea typeface="Times New Roman" panose="02020603050405020304"/>
            </a:endParaRPr>
          </a:p>
          <a:p>
            <a:pPr defTabSz="266700"/>
            <a:r>
              <a:rPr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8</a:t>
            </a:r>
            <a:r>
              <a:rPr sz="2400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-чу </a:t>
            </a:r>
            <a:r>
              <a:rPr lang="ru-RU" sz="2400" dirty="0" err="1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классийн</a:t>
            </a:r>
            <a:r>
              <a:rPr lang="ru-RU" sz="2400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дешархошна</a:t>
            </a:r>
            <a:r>
              <a:rPr lang="ru-RU" sz="24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шен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барамц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120</a:t>
            </a:r>
            <a:r>
              <a:rPr lang="ru-RU" sz="24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ашал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кӀезиг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а, 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140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ашал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сов а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йоцу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текст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ло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цӀахь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 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схьайазйан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. </a:t>
            </a:r>
            <a:endParaRPr lang="ru-RU" sz="2400" dirty="0" smtClean="0">
              <a:solidFill>
                <a:srgbClr val="FF0000"/>
              </a:solidFill>
              <a:latin typeface="Times New Roman" panose="02020603050405020304"/>
              <a:ea typeface="Times New Roman" panose="02020603050405020304"/>
            </a:endParaRPr>
          </a:p>
          <a:p>
            <a:pPr defTabSz="266700"/>
            <a:r>
              <a:rPr lang="ru-RU" sz="800" dirty="0" smtClean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___________________________________________________________________________________________________________________________________________________________________________________________________________________________________</a:t>
            </a:r>
            <a:endParaRPr sz="2400" dirty="0">
              <a:solidFill>
                <a:srgbClr val="1D41D5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just" defTabSz="266700">
              <a:lnSpc>
                <a:spcPct val="107000"/>
              </a:lnSpc>
            </a:pPr>
            <a:r>
              <a:rPr lang="ru-RU" sz="2400" dirty="0" smtClean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      </a:t>
            </a:r>
            <a:r>
              <a:rPr sz="2400" dirty="0" err="1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Цу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ийнахь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ешархошн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нохчий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метта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урокехь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цӀахь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кхочушба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цхьаннал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сов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йозана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болх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ц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ло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оьшуш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хилахь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Ӏамийнчу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емин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Ӏетоьхн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цӀер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олх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бала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йиш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йу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арт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хочушбан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: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бакъо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Ӏамо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, и. д.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кх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. а.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ТӀейогӀучу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ешара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урокехь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ешархош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болх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кхочушбин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а,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таллам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ба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Ӏабелл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а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хил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без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.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Хьехархочо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ешархойн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белхаш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толлу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.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М</a:t>
            </a:r>
            <a:r>
              <a:rPr sz="2400" dirty="0" err="1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аххадоран</a:t>
            </a:r>
            <a:r>
              <a:rPr sz="2400" dirty="0" smtClean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критерешц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йогӀуш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тетрадаш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тӀе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оценкаш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хӀиттайо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.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ТӀедогӀучу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кӀиранахь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тетрадаш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ешархошк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дӀало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керл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болх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400" dirty="0" err="1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кхочушбайта</a:t>
            </a:r>
            <a:r>
              <a:rPr sz="2400" dirty="0">
                <a:solidFill>
                  <a:schemeClr val="tx1"/>
                </a:solidFill>
                <a:latin typeface="Times New Roman" panose="02020603050405020304"/>
                <a:ea typeface="Times New Roman" panose="02020603050405020304"/>
              </a:rPr>
              <a:t>. 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0" y="133008"/>
            <a:ext cx="12192000" cy="641394"/>
          </a:xfrm>
          <a:prstGeom prst="rect">
            <a:avLst/>
          </a:prstGeom>
          <a:solidFill>
            <a:srgbClr val="006600"/>
          </a:solidFill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 defTabSz="266700"/>
            <a:endParaRPr lang="ru-RU" sz="500" b="1" dirty="0" smtClean="0">
              <a:solidFill>
                <a:schemeClr val="bg1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just" defTabSz="266700">
              <a:lnSpc>
                <a:spcPct val="107000"/>
              </a:lnSpc>
            </a:pPr>
            <a:r>
              <a:rPr lang="ru-RU" sz="2400" b="1" dirty="0" smtClean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   2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.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Нохчий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метта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тӀетоьхна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белхаш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вовшахтохар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кхочушдо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кӀиранах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400" b="1" dirty="0" err="1" smtClean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цкъа</a:t>
            </a:r>
            <a:r>
              <a:rPr lang="ru-RU" sz="2400" b="1" dirty="0" smtClean="0">
                <a:solidFill>
                  <a:schemeClr val="bg1"/>
                </a:solidFill>
                <a:latin typeface="Times New Roman" panose="02020603050405020304"/>
                <a:ea typeface="Times New Roman" panose="02020603050405020304"/>
              </a:rPr>
              <a:t>.</a:t>
            </a:r>
            <a:endParaRPr lang="ru-RU" sz="2400" b="1" dirty="0">
              <a:solidFill>
                <a:schemeClr val="bg1"/>
              </a:solidFill>
              <a:latin typeface="Times New Roman" panose="02020603050405020304"/>
              <a:ea typeface="Times New Roman" panose="02020603050405020304"/>
            </a:endParaRPr>
          </a:p>
          <a:p>
            <a:pPr lvl="0" algn="ctr" defTabSz="266700"/>
            <a:endParaRPr lang="ru-RU" sz="500" b="1" dirty="0">
              <a:solidFill>
                <a:schemeClr val="bg1"/>
              </a:solidFill>
              <a:latin typeface="Times New Roman" panose="02020603050405020304"/>
              <a:ea typeface="Times New Roman" panose="02020603050405020304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мещающий 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11460480" y="6332855"/>
            <a:ext cx="731520" cy="525145"/>
          </a:xfrm>
        </p:spPr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5</a:t>
            </a:fld>
            <a:endParaRPr lang="ru-RU"/>
          </a:p>
        </p:txBody>
      </p:sp>
      <p:sp>
        <p:nvSpPr>
          <p:cNvPr id="5" name="Текстовое поле 4"/>
          <p:cNvSpPr txBox="1"/>
          <p:nvPr/>
        </p:nvSpPr>
        <p:spPr>
          <a:xfrm>
            <a:off x="259715" y="1004570"/>
            <a:ext cx="11711305" cy="4184650"/>
          </a:xfrm>
          <a:prstGeom prst="rect">
            <a:avLst/>
          </a:prstGeom>
        </p:spPr>
        <p:txBody>
          <a:bodyPr wrap="square">
            <a:noAutofit/>
          </a:bodyPr>
          <a:lstStyle/>
          <a:p>
            <a:pPr algn="just" defTabSz="266700">
              <a:lnSpc>
                <a:spcPct val="107000"/>
              </a:lnSpc>
            </a:pPr>
            <a:r>
              <a:rPr sz="2800" b="1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Билгалдаккхар</a:t>
            </a:r>
            <a:r>
              <a:rPr sz="28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.</a:t>
            </a:r>
            <a:r>
              <a:rPr sz="2800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 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Кечйинчу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кеп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тӀер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схьайаздар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–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тӀер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 smtClean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схьайаз</a:t>
            </a:r>
            <a:r>
              <a:rPr lang="ru-RU" sz="2800" dirty="0" smtClean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й</a:t>
            </a:r>
            <a:r>
              <a:rPr sz="2800" dirty="0" err="1" smtClean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ан</a:t>
            </a:r>
            <a:r>
              <a:rPr sz="2800" dirty="0" smtClean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луш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йолу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текст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элпаш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йукъахдитин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доцуш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тӀетоьхн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тӀедахкарш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доцуш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хил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йез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;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оцу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белхан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Ӏалашо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йу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гӀалаташ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а,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талхорш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а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доцуш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текст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нийс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схьайазйар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. </a:t>
            </a:r>
            <a:endParaRPr sz="2800" dirty="0">
              <a:solidFill>
                <a:srgbClr val="1D41D5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just" defTabSz="266700">
              <a:lnSpc>
                <a:spcPct val="107000"/>
              </a:lnSpc>
            </a:pPr>
            <a:r>
              <a:rPr sz="2800" b="1" i="1" dirty="0">
                <a:solidFill>
                  <a:srgbClr val="1D41D5"/>
                </a:solidFill>
                <a:latin typeface="Times New Roman" panose="02020603050405020304"/>
                <a:ea typeface="Times New Roman" panose="02020603050405020304"/>
              </a:rPr>
              <a:t> </a:t>
            </a:r>
          </a:p>
          <a:p>
            <a:pPr algn="just" defTabSz="266700">
              <a:lnSpc>
                <a:spcPct val="107000"/>
              </a:lnSpc>
            </a:pPr>
            <a:r>
              <a:rPr sz="2800" b="1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Схьайаздаран</a:t>
            </a:r>
            <a:r>
              <a:rPr sz="28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b="1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йацйина</a:t>
            </a:r>
            <a:r>
              <a:rPr sz="2800" b="1" dirty="0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b="1" dirty="0" err="1">
                <a:solidFill>
                  <a:srgbClr val="FF0000"/>
                </a:solidFill>
                <a:latin typeface="Times New Roman" panose="02020603050405020304"/>
                <a:ea typeface="Times New Roman" panose="02020603050405020304"/>
              </a:rPr>
              <a:t>алгоритм</a:t>
            </a:r>
            <a:endParaRPr sz="2800" b="1" dirty="0">
              <a:solidFill>
                <a:srgbClr val="FF0000"/>
              </a:solidFill>
              <a:latin typeface="Times New Roman" panose="02020603050405020304"/>
              <a:ea typeface="Times New Roman" panose="02020603050405020304"/>
            </a:endParaRPr>
          </a:p>
          <a:p>
            <a:pPr algn="just" defTabSz="266700">
              <a:lnSpc>
                <a:spcPct val="107000"/>
              </a:lnSpc>
            </a:pP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1.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ДIайеш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предложени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из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йух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дагахь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схьайийц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.</a:t>
            </a:r>
          </a:p>
          <a:p>
            <a:pPr algn="just" defTabSz="266700">
              <a:lnSpc>
                <a:spcPct val="107000"/>
              </a:lnSpc>
            </a:pP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2.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ДIайеш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предложени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кхин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цкъ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а,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из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йазйин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ма-йарр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.</a:t>
            </a:r>
          </a:p>
          <a:p>
            <a:pPr algn="just" defTabSz="266700">
              <a:lnSpc>
                <a:spcPct val="107000"/>
              </a:lnSpc>
            </a:pP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3.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Предложени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дIайазйеш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хIор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дош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деш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хьайн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дагахь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ма-латтар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. </a:t>
            </a:r>
          </a:p>
          <a:p>
            <a:pPr algn="just" defTabSz="266700">
              <a:lnSpc>
                <a:spcPct val="107000"/>
              </a:lnSpc>
            </a:pP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4.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Йазйинарг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талл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.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ХIор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дош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деш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.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Текст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схьайелл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,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йазйинарг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текстац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  <a:r>
              <a:rPr lang="ru-RU"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</a:t>
            </a:r>
          </a:p>
          <a:p>
            <a:pPr algn="just" defTabSz="266700">
              <a:lnSpc>
                <a:spcPct val="107000"/>
              </a:lnSpc>
            </a:pPr>
            <a:r>
              <a:rPr lang="ru-RU"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    </a:t>
            </a:r>
            <a:r>
              <a:rPr sz="2800" dirty="0" err="1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йуста</a:t>
            </a:r>
            <a:r>
              <a:rPr sz="2800" dirty="0">
                <a:solidFill>
                  <a:srgbClr val="2B8313"/>
                </a:solidFill>
                <a:latin typeface="Times New Roman" panose="02020603050405020304"/>
                <a:ea typeface="Times New Roman" panose="02020603050405020304"/>
              </a:rPr>
              <a:t>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70339" y="272410"/>
            <a:ext cx="11667392" cy="62669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algn="just">
              <a:lnSpc>
                <a:spcPct val="107000"/>
              </a:lnSpc>
              <a:spcAft>
                <a:spcPts val="0"/>
              </a:spcAft>
            </a:pPr>
            <a:r>
              <a:rPr lang="ru-RU" sz="5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24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90170" algn="just">
              <a:lnSpc>
                <a:spcPct val="107000"/>
              </a:lnSpc>
              <a:spcAft>
                <a:spcPts val="0"/>
              </a:spcAft>
            </a:pPr>
            <a:endParaRPr lang="ru-RU" sz="1100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90170" algn="just">
              <a:lnSpc>
                <a:spcPct val="107000"/>
              </a:lnSpc>
              <a:spcAft>
                <a:spcPts val="0"/>
              </a:spcAft>
            </a:pP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90170" algn="just">
              <a:lnSpc>
                <a:spcPct val="107000"/>
              </a:lnSpc>
              <a:spcAft>
                <a:spcPts val="0"/>
              </a:spcAft>
            </a:pPr>
            <a:endParaRPr lang="ru-RU" sz="11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90170" algn="just">
              <a:lnSpc>
                <a:spcPct val="107000"/>
              </a:lnSpc>
            </a:pPr>
            <a:r>
              <a:rPr lang="ru-RU" sz="2400" dirty="0" smtClean="0">
                <a:solidFill>
                  <a:srgbClr val="1D41D5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Ӏиранан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шолгӀачу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рокехь</a:t>
            </a:r>
            <a:r>
              <a:rPr lang="ru-RU" sz="2400" dirty="0">
                <a:solidFill>
                  <a:srgbClr val="1D41D5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ru-RU" b="1" dirty="0">
                <a:solidFill>
                  <a:srgbClr val="FF0000"/>
                </a:solidFill>
              </a:rPr>
              <a:t>–</a:t>
            </a: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6</a:t>
            </a:r>
            <a:r>
              <a:rPr lang="ru-RU" sz="2400" dirty="0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чуй </a:t>
            </a:r>
            <a:r>
              <a:rPr lang="ru-RU" sz="2400" dirty="0" err="1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лассийн</a:t>
            </a:r>
            <a:r>
              <a:rPr lang="ru-RU" sz="2400" dirty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ешархошна</a:t>
            </a:r>
            <a:r>
              <a:rPr lang="ru-RU" sz="2400" dirty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цӀахь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хочушбан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езачу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йозанан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елхан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Ӏедиллар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ло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илгалйаьккхинчу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емин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йешначу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екстан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буха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Ӏехь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йозанан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лар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хӀотто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лар</a:t>
            </a:r>
            <a:r>
              <a:rPr lang="ru-RU" sz="2400" dirty="0">
                <a:solidFill>
                  <a:srgbClr val="1D41D5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5</a:t>
            </a:r>
            <a:r>
              <a:rPr lang="ru-RU" b="1" dirty="0">
                <a:solidFill>
                  <a:srgbClr val="FF0000"/>
                </a:solidFill>
              </a:rPr>
              <a:t>–</a:t>
            </a: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r>
              <a:rPr lang="ru-RU" sz="2400" dirty="0" smtClean="0">
                <a:solidFill>
                  <a:srgbClr val="1D41D5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едложенел</a:t>
            </a:r>
            <a:r>
              <a:rPr lang="ru-RU" sz="2400" dirty="0">
                <a:solidFill>
                  <a:srgbClr val="1D41D5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Ӏезиг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оцуш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хила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ез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sz="2400" dirty="0">
              <a:solidFill>
                <a:srgbClr val="1D41D5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90170" algn="just">
              <a:lnSpc>
                <a:spcPct val="107000"/>
              </a:lnSpc>
              <a:spcAft>
                <a:spcPts val="0"/>
              </a:spcAft>
            </a:pPr>
            <a:r>
              <a:rPr lang="ru-RU" sz="2400" dirty="0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ru-RU" b="1" dirty="0">
                <a:solidFill>
                  <a:srgbClr val="FF0000"/>
                </a:solidFill>
              </a:rPr>
              <a:t>–</a:t>
            </a: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r>
              <a:rPr lang="ru-RU" sz="2400" dirty="0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чуй </a:t>
            </a:r>
            <a:r>
              <a:rPr lang="ru-RU" sz="2400" dirty="0" err="1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лассийн</a:t>
            </a:r>
            <a:r>
              <a:rPr lang="ru-RU" sz="2400" dirty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ешархошна</a:t>
            </a:r>
            <a:r>
              <a:rPr lang="ru-RU" sz="2400" dirty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цӀахь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хочушбан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езачу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йозанан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елхан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Ӏедиллар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ло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илгалйаьккхинчу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емин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йешначу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екстан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буха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Ӏехь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йозанан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лар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хӀотто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7</a:t>
            </a:r>
            <a:r>
              <a:rPr lang="ru-RU" b="1" dirty="0" smtClean="0">
                <a:solidFill>
                  <a:srgbClr val="FF0000"/>
                </a:solidFill>
              </a:rPr>
              <a:t>–</a:t>
            </a: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r>
              <a:rPr lang="ru-RU" sz="2400" dirty="0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-чуй</a:t>
            </a:r>
            <a:r>
              <a:rPr lang="ru-RU" sz="2400" dirty="0" smtClean="0">
                <a:solidFill>
                  <a:srgbClr val="1D41D5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лассашкахь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алар</a:t>
            </a:r>
            <a:r>
              <a:rPr lang="ru-RU" sz="2400" dirty="0">
                <a:solidFill>
                  <a:srgbClr val="1D41D5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8</a:t>
            </a:r>
            <a:r>
              <a:rPr lang="ru-RU" b="1" dirty="0">
                <a:solidFill>
                  <a:srgbClr val="FF0000"/>
                </a:solidFill>
              </a:rPr>
              <a:t>–</a:t>
            </a:r>
            <a:r>
              <a:rPr lang="ru-RU" sz="2400" b="1" dirty="0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</a:t>
            </a:r>
            <a:r>
              <a:rPr lang="ru-RU" sz="2400" dirty="0" smtClean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едложенел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Ӏезиг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оцуш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хила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ез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2400" dirty="0">
              <a:solidFill>
                <a:srgbClr val="1D41D5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90170" algn="just">
              <a:lnSpc>
                <a:spcPct val="107000"/>
              </a:lnSpc>
              <a:spcAft>
                <a:spcPts val="0"/>
              </a:spcAft>
            </a:pPr>
            <a:r>
              <a:rPr lang="ru-RU" sz="2400" dirty="0" smtClean="0">
                <a:solidFill>
                  <a:srgbClr val="1D41D5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 </a:t>
            </a:r>
            <a:r>
              <a:rPr lang="ru-RU" sz="2400" dirty="0" err="1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Цу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ийнахь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ешархошн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охчийн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литературин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рокехь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цӀахь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хочушбан</a:t>
            </a:r>
            <a:r>
              <a:rPr lang="ru-RU" sz="2400" dirty="0">
                <a:solidFill>
                  <a:srgbClr val="1D41D5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цхьаннал</a:t>
            </a:r>
            <a:r>
              <a:rPr lang="ru-RU" sz="2400" dirty="0">
                <a:solidFill>
                  <a:srgbClr val="FF0000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сов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йозанан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олх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ц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ло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ьшуш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хилахь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Ӏамийнчу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емин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Ӏетоьхн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цӀер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олх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бала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йиш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йу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арт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хочушбан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произведени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ъастош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йешар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чулацам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схьабийц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ечамбар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endParaRPr lang="ru-RU" sz="2400" dirty="0" smtClean="0">
              <a:solidFill>
                <a:schemeClr val="tx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0170" algn="just">
              <a:lnSpc>
                <a:spcPct val="107000"/>
              </a:lnSpc>
              <a:spcAft>
                <a:spcPts val="0"/>
              </a:spcAft>
            </a:pP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и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д.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х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а. </a:t>
            </a:r>
            <a:endParaRPr lang="ru-RU" sz="2400" dirty="0" smtClean="0">
              <a:solidFill>
                <a:schemeClr val="tx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0170" algn="just">
              <a:lnSpc>
                <a:spcPct val="107000"/>
              </a:lnSpc>
              <a:spcAft>
                <a:spcPts val="0"/>
              </a:spcAft>
            </a:pP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   </a:t>
            </a:r>
            <a:r>
              <a:rPr lang="ru-RU" sz="2400" dirty="0" err="1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ӀейогӀучу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литературин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рокан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ешархош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олх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хочушбин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а,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аллам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ан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Ӏабал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ийч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а хила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ез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Хьехархочо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ешархойн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елхаш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оллу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2400" dirty="0" err="1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Маххадоран</a:t>
            </a:r>
            <a:r>
              <a:rPr lang="ru-RU" sz="2400" dirty="0" smtClean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ритерешц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йогӀуш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етрадаш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Ӏе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ценкаш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хӀиттайо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ӀейогӀучу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литературин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урокехь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етрадаш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ешархошк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дӀало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ерл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олх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dirty="0" err="1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хочушбайта</a:t>
            </a:r>
            <a:r>
              <a:rPr lang="ru-RU" sz="24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endParaRPr lang="ru-RU" sz="2400" dirty="0">
              <a:solidFill>
                <a:schemeClr val="tx1"/>
              </a:solidFill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u-RU" sz="100" dirty="0">
                <a:solidFill>
                  <a:schemeClr val="tx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endParaRPr lang="ru-RU" sz="100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172684"/>
            <a:ext cx="12192000" cy="668645"/>
          </a:xfrm>
          <a:prstGeom prst="rect">
            <a:avLst/>
          </a:prstGeom>
          <a:solidFill>
            <a:srgbClr val="006600"/>
          </a:solidFill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170" algn="just">
              <a:lnSpc>
                <a:spcPct val="107000"/>
              </a:lnSpc>
              <a:spcAft>
                <a:spcPts val="0"/>
              </a:spcAft>
            </a:pPr>
            <a:endParaRPr lang="ru-RU" sz="500" b="1" dirty="0" smtClean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90170" algn="just">
              <a:lnSpc>
                <a:spcPct val="107000"/>
              </a:lnSpc>
              <a:spcAft>
                <a:spcPts val="0"/>
              </a:spcAft>
            </a:pPr>
            <a:r>
              <a:rPr lang="ru-RU" sz="2400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  3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Нохчий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литератури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тӀетоьхна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белхаш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вовшахтохар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хочушдо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кӀиранах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2400" b="1" dirty="0" err="1" smtClean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цкъа</a:t>
            </a:r>
            <a:r>
              <a:rPr lang="ru-RU" sz="2400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  <a:p>
            <a:pPr marL="90170" algn="just">
              <a:lnSpc>
                <a:spcPct val="107000"/>
              </a:lnSpc>
              <a:spcAft>
                <a:spcPts val="0"/>
              </a:spcAft>
            </a:pPr>
            <a:r>
              <a:rPr lang="ru-RU" sz="500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500" b="1" dirty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/>
          <p:nvPr>
            <p:custDataLst>
              <p:tags r:id="rId1"/>
            </p:custDataLst>
          </p:nvPr>
        </p:nvGraphicFramePr>
        <p:xfrm>
          <a:off x="317500" y="941705"/>
          <a:ext cx="11557000" cy="58070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959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0546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5406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01497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08648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</a:t>
                      </a:r>
                    </a:p>
                    <a:p>
                      <a:pPr>
                        <a:buNone/>
                      </a:pPr>
                      <a:r>
                        <a:rPr lang="en-US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ru-RU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ссаш </a:t>
                      </a:r>
                    </a:p>
                  </a:txBody>
                  <a:tcPr vert="vert270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altLang="en-US" sz="180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en-US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ллу</a:t>
                      </a:r>
                      <a:r>
                        <a:rPr lang="en-US" altLang="ru-RU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арш</a:t>
                      </a:r>
                    </a:p>
                  </a:txBody>
                  <a:tcP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altLang="en-US" sz="180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en-US" altLang="en-US" sz="1800" dirty="0" err="1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ххадоран</a:t>
                      </a:r>
                      <a:r>
                        <a:rPr lang="en-US" altLang="ru-RU" sz="1800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итереш</a:t>
                      </a:r>
                      <a:endParaRPr lang="en-US" altLang="en-US" sz="180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2059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altLang="en-US" sz="1800" b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1</a:t>
                      </a:r>
                    </a:p>
                  </a:txBody>
                  <a:tcP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ru-RU" altLang="en-US" sz="1800" b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шнаш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ложенеш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айн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рамца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ru-RU" sz="1800" b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шал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Ӏезиг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ru-RU" sz="1800" b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шал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в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оцу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ксташ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йса</a:t>
                      </a:r>
                      <a:r>
                        <a:rPr lang="en-US" altLang="ru-RU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хьайазйан</a:t>
                      </a:r>
                    </a:p>
                  </a:txBody>
                  <a:tcP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лхан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х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дабо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на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ица</a:t>
                      </a:r>
                      <a:endParaRPr lang="en-US" altLang="en-US" sz="1800" b="1" dirty="0">
                        <a:solidFill>
                          <a:srgbClr val="2B8313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buNone/>
                      </a:pPr>
                      <a:r>
                        <a:rPr lang="en-US" altLang="en-US" sz="1800" b="1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айо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ч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ха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къ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штт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Ӏ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кх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кх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algn="just">
                        <a:buNone/>
                      </a:pPr>
                      <a:endParaRPr lang="en-US" alt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buNone/>
                      </a:pPr>
                      <a:r>
                        <a:rPr lang="en-US" altLang="en-US" sz="1800" b="1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айо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2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ехь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а</a:t>
                      </a:r>
                      <a:r>
                        <a:rPr lang="ru-RU" alt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3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уш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4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ехь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algn="just">
                        <a:buNone/>
                      </a:pP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en-US" alt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о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иш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у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3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ехь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гахь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арн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укъахь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н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къонн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аш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лахь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>
                        <a:buNone/>
                      </a:pPr>
                      <a:endParaRPr lang="en-US" alt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buNone/>
                      </a:pPr>
                      <a:r>
                        <a:rPr lang="en-US" altLang="en-US" sz="1800" b="1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айо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3–5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</a:t>
                      </a:r>
                      <a:r>
                        <a:rPr lang="ru-RU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ч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ха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algn="just">
                        <a:buNone/>
                      </a:pP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штт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о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и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6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6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га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ар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укхар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укъа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кх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къон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ла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>
                        <a:buNone/>
                      </a:pPr>
                      <a:endParaRPr lang="en-US" alt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buNone/>
                      </a:pPr>
                      <a:r>
                        <a:rPr lang="en-US" altLang="en-US" sz="1800" b="1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айо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га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х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Ӏ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ор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рама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в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лахь</a:t>
                      </a:r>
                      <a:endParaRPr lang="en-US" altLang="en-US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0" y="120972"/>
            <a:ext cx="12192000" cy="668645"/>
          </a:xfrm>
          <a:prstGeom prst="rect">
            <a:avLst/>
          </a:prstGeom>
          <a:solidFill>
            <a:srgbClr val="006600"/>
          </a:solidFill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170" algn="just">
              <a:lnSpc>
                <a:spcPct val="107000"/>
              </a:lnSpc>
              <a:spcAft>
                <a:spcPts val="0"/>
              </a:spcAft>
            </a:pPr>
            <a:endParaRPr lang="ru-RU" sz="500" b="1" dirty="0" smtClean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266700">
              <a:lnSpc>
                <a:spcPct val="107000"/>
              </a:lnSpc>
            </a:pPr>
            <a:r>
              <a:rPr lang="ru-RU" sz="2400" b="1" dirty="0" smtClean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  4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.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Нохчий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метта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белха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маххадора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критереш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</a:p>
          <a:p>
            <a:pPr marL="90170" algn="just">
              <a:lnSpc>
                <a:spcPct val="107000"/>
              </a:lnSpc>
              <a:spcAft>
                <a:spcPts val="0"/>
              </a:spcAft>
            </a:pPr>
            <a:r>
              <a:rPr lang="ru-RU" sz="500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500" b="1" dirty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/>
          <p:nvPr>
            <p:custDataLst>
              <p:tags r:id="rId1"/>
            </p:custDataLst>
          </p:nvPr>
        </p:nvGraphicFramePr>
        <p:xfrm>
          <a:off x="255905" y="950497"/>
          <a:ext cx="11680190" cy="56089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2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03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898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10069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1049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800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</a:t>
                      </a:r>
                    </a:p>
                    <a:p>
                      <a:pPr>
                        <a:buNone/>
                      </a:pPr>
                      <a:r>
                        <a:rPr lang="ru-RU" sz="1800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</a:t>
                      </a:r>
                      <a:r>
                        <a:rPr lang="en-US" altLang="en-US" sz="1800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ru-RU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ссаш </a:t>
                      </a:r>
                    </a:p>
                  </a:txBody>
                  <a:tcPr vert="vert270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altLang="en-US" sz="180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en-US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ллу</a:t>
                      </a:r>
                      <a:r>
                        <a:rPr lang="en-US" altLang="ru-RU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арш</a:t>
                      </a:r>
                    </a:p>
                  </a:txBody>
                  <a:tcP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altLang="en-US" sz="180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en-US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ххадоран</a:t>
                      </a:r>
                      <a:r>
                        <a:rPr lang="en-US" altLang="ru-RU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итереш</a:t>
                      </a:r>
                    </a:p>
                  </a:txBody>
                  <a:tcP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0405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altLang="en-US" sz="1800" b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2</a:t>
                      </a:r>
                    </a:p>
                  </a:txBody>
                  <a:tcP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ru-RU" altLang="en-US" sz="1800" b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шнаш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ложенеш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айн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рамца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altLang="ru-RU" sz="1800" b="1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r>
                        <a:rPr lang="en-US" altLang="ru-RU" sz="1800" b="1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r>
                        <a:rPr lang="en-US" altLang="ru-RU" sz="1800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шал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Ӏезиг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ru-RU" sz="1800" b="1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altLang="ru-RU" sz="1800" b="1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en-US" altLang="ru-RU" sz="1800" b="1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r>
                        <a:rPr lang="en-US" altLang="ru-RU" sz="1800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шал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в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оцу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ксташ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йса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хьайазйан</a:t>
                      </a:r>
                      <a:endParaRPr lang="en-US" altLang="en-US" sz="1800" dirty="0">
                        <a:solidFill>
                          <a:srgbClr val="C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Белхан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мах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хадабо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цхьана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оценкица</a:t>
                      </a:r>
                      <a:endParaRPr lang="en-US" altLang="en-US" sz="1800" b="1" dirty="0">
                        <a:solidFill>
                          <a:srgbClr val="2B8313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buNone/>
                      </a:pPr>
                      <a:r>
                        <a:rPr lang="en-US" altLang="en-US" sz="1800" b="1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айо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ч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ха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къ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штт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Ӏ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кх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кх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algn="just">
                        <a:buNone/>
                      </a:pPr>
                      <a:endParaRPr lang="en-US" altLang="ru-RU" sz="500" dirty="0">
                        <a:solidFill>
                          <a:srgbClr val="C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buNone/>
                      </a:pPr>
                      <a:r>
                        <a:rPr lang="en-US" altLang="en-US" sz="1800" b="1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айо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2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3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у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4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algn="just">
                        <a:buNone/>
                      </a:pP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о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и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3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га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ар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укъа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къон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лахь</a:t>
                      </a:r>
                      <a:r>
                        <a:rPr lang="ru-RU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>
                        <a:buNone/>
                      </a:pPr>
                      <a:endParaRPr lang="en-US" altLang="en-US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buNone/>
                      </a:pPr>
                      <a:r>
                        <a:rPr lang="en-US" altLang="en-US" sz="1800" b="1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айо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3–5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4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ч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ха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algn="just">
                        <a:buNone/>
                      </a:pP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штт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о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и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6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6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га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ар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укхар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укъа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кх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къон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ла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>
                        <a:buNone/>
                      </a:pPr>
                      <a:endParaRPr lang="en-US" alt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buNone/>
                      </a:pPr>
                      <a:r>
                        <a:rPr lang="en-US" altLang="en-US" sz="1800" b="1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айо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га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х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Ӏ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оран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рама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в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лахь</a:t>
                      </a:r>
                      <a:r>
                        <a:rPr lang="ru-RU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0" y="120972"/>
            <a:ext cx="12192000" cy="668645"/>
          </a:xfrm>
          <a:prstGeom prst="rect">
            <a:avLst/>
          </a:prstGeom>
          <a:solidFill>
            <a:srgbClr val="006600"/>
          </a:solidFill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170" algn="just">
              <a:lnSpc>
                <a:spcPct val="107000"/>
              </a:lnSpc>
              <a:spcAft>
                <a:spcPts val="0"/>
              </a:spcAft>
            </a:pPr>
            <a:endParaRPr lang="ru-RU" sz="500" b="1" dirty="0" smtClean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266700">
              <a:lnSpc>
                <a:spcPct val="107000"/>
              </a:lnSpc>
            </a:pPr>
            <a:r>
              <a:rPr lang="ru-RU" sz="2400" b="1" dirty="0" smtClean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  4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.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Нохчий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метта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белха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маххадора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критереш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</a:p>
          <a:p>
            <a:pPr marL="90170" algn="just">
              <a:lnSpc>
                <a:spcPct val="107000"/>
              </a:lnSpc>
              <a:spcAft>
                <a:spcPts val="0"/>
              </a:spcAft>
            </a:pPr>
            <a:r>
              <a:rPr lang="ru-RU" sz="500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500" b="1" dirty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Таблица 2"/>
          <p:cNvGraphicFramePr/>
          <p:nvPr/>
        </p:nvGraphicFramePr>
        <p:xfrm>
          <a:off x="255905" y="976875"/>
          <a:ext cx="11680190" cy="560895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492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403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48983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10069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104900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sz="1800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</a:t>
                      </a:r>
                    </a:p>
                    <a:p>
                      <a:pPr>
                        <a:buNone/>
                      </a:pPr>
                      <a:r>
                        <a:rPr lang="ru-RU" sz="1800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</a:t>
                      </a:r>
                      <a:r>
                        <a:rPr lang="en-US" altLang="en-US" sz="1800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buNone/>
                      </a:pPr>
                      <a:r>
                        <a:rPr lang="ru-RU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лассаш </a:t>
                      </a:r>
                    </a:p>
                  </a:txBody>
                  <a:tcPr vert="vert270"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altLang="en-US" sz="180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en-US" altLang="en-US" sz="1800" dirty="0" err="1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ллу</a:t>
                      </a:r>
                      <a:r>
                        <a:rPr lang="en-US" altLang="ru-RU" sz="1800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аарш</a:t>
                      </a:r>
                      <a:endParaRPr lang="en-US" altLang="en-US" sz="1800" dirty="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CC66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endParaRPr lang="en-US" altLang="en-US" sz="1800">
                        <a:solidFill>
                          <a:srgbClr val="FF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>
                        <a:buNone/>
                      </a:pPr>
                      <a:r>
                        <a:rPr lang="en-US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ххадоран</a:t>
                      </a:r>
                      <a:r>
                        <a:rPr lang="en-US" altLang="ru-RU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ритереш</a:t>
                      </a:r>
                    </a:p>
                  </a:txBody>
                  <a:tcPr>
                    <a:solidFill>
                      <a:srgbClr val="FFCC6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04055"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ru-RU" altLang="en-US" sz="1800" b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 3</a:t>
                      </a:r>
                    </a:p>
                  </a:txBody>
                  <a:tcP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buNone/>
                      </a:pPr>
                      <a:r>
                        <a:rPr lang="ru-RU" altLang="en-US" sz="1800" b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None/>
                      </a:pP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шнаш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едложенеш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шайн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рамца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altLang="en-US" sz="1800" b="1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r>
                        <a:rPr lang="en-US" altLang="ru-RU" sz="1800" b="1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r>
                        <a:rPr lang="en-US" altLang="ru-RU" sz="1800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шал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Ӏезиг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ru-RU" sz="1800" b="1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altLang="ru-RU" sz="1800" b="1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altLang="ru-RU" sz="1800" b="1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r>
                        <a:rPr lang="en-US" altLang="ru-RU" sz="1800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шал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в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оцу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ксташ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йса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хьайазйан</a:t>
                      </a:r>
                      <a:endParaRPr lang="en-US" altLang="en-US" sz="1800" dirty="0">
                        <a:solidFill>
                          <a:srgbClr val="C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FF9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buNone/>
                      </a:pP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Белхан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мах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хадабо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цхьана</a:t>
                      </a:r>
                      <a:r>
                        <a:rPr lang="en-US" altLang="ru-RU" sz="1800" b="1" dirty="0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 </a:t>
                      </a:r>
                      <a:r>
                        <a:rPr lang="en-US" altLang="en-US" sz="1800" b="1" dirty="0" err="1">
                          <a:solidFill>
                            <a:srgbClr val="2B8313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  <a:sym typeface="+mn-ea"/>
                        </a:rPr>
                        <a:t>оценкица</a:t>
                      </a:r>
                      <a:endParaRPr lang="en-US" altLang="en-US" sz="1800" b="1" dirty="0">
                        <a:solidFill>
                          <a:srgbClr val="2B8313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  <a:sym typeface="+mn-ea"/>
                      </a:endParaRPr>
                    </a:p>
                    <a:p>
                      <a:pPr algn="just">
                        <a:buNone/>
                      </a:pPr>
                      <a:r>
                        <a:rPr lang="en-US" altLang="en-US" sz="1800" b="1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айо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ч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ха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къ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штт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Ӏ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кх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кх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algn="just">
                        <a:buNone/>
                      </a:pPr>
                      <a:endParaRPr lang="en-US" altLang="ru-RU" sz="500" dirty="0">
                        <a:solidFill>
                          <a:srgbClr val="C00000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buNone/>
                      </a:pPr>
                      <a:r>
                        <a:rPr lang="en-US" altLang="en-US" sz="1800" b="1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айо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2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3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у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4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</a:t>
                      </a:r>
                      <a:r>
                        <a:rPr lang="ru-RU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туационн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algn="just">
                        <a:buNone/>
                      </a:pP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en-US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о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и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у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3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е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га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ар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укъахь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къонна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аш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лахь</a:t>
                      </a:r>
                      <a:r>
                        <a:rPr lang="ru-RU" altLang="en-US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>
                        <a:buNone/>
                      </a:pPr>
                      <a:endParaRPr lang="en-US" altLang="en-US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buNone/>
                      </a:pPr>
                      <a:r>
                        <a:rPr lang="en-US" altLang="en-US" sz="1800" b="1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айо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3–5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4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чу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хан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</a:p>
                    <a:p>
                      <a:pPr algn="just">
                        <a:buNone/>
                      </a:pP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alt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штт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о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иш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у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6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ографически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6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унктуационни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ийтинехь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гахь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арн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укхарн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йукъахь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ккх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цу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хьан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къонн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аш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лахь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algn="just">
                        <a:buNone/>
                      </a:pPr>
                      <a:endParaRPr lang="en-US" altLang="ru-RU" sz="5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buNone/>
                      </a:pPr>
                      <a:r>
                        <a:rPr lang="en-US" altLang="en-US" sz="1800" b="1" dirty="0" err="1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en-US" altLang="en-US" sz="1800" b="1" dirty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айо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гахь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лх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Ӏехь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Ӏалаташ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ценка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«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en-US" altLang="en-US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Ӏотторан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арамал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в</a:t>
                      </a:r>
                      <a:r>
                        <a:rPr lang="en-US" altLang="ru-RU" sz="1800" b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altLang="en-US" sz="1800" b="0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лахь</a:t>
                      </a:r>
                      <a:endParaRPr lang="ru-RU" altLang="en-US" sz="1800" b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>
                    <a:solidFill>
                      <a:srgbClr val="FFFF9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Прямоугольник 3"/>
          <p:cNvSpPr/>
          <p:nvPr/>
        </p:nvSpPr>
        <p:spPr>
          <a:xfrm>
            <a:off x="0" y="120972"/>
            <a:ext cx="12192000" cy="668645"/>
          </a:xfrm>
          <a:prstGeom prst="rect">
            <a:avLst/>
          </a:prstGeom>
          <a:solidFill>
            <a:srgbClr val="006600"/>
          </a:solidFill>
        </p:spPr>
        <p:txBody>
          <a:bodyPr wrap="square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90170" algn="just">
              <a:lnSpc>
                <a:spcPct val="107000"/>
              </a:lnSpc>
              <a:spcAft>
                <a:spcPts val="0"/>
              </a:spcAft>
            </a:pPr>
            <a:endParaRPr lang="ru-RU" sz="500" b="1" dirty="0" smtClean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defTabSz="266700">
              <a:lnSpc>
                <a:spcPct val="107000"/>
              </a:lnSpc>
            </a:pPr>
            <a:r>
              <a:rPr lang="ru-RU" sz="2400" b="1" dirty="0" smtClean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  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Нохчий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метта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белха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маххадоран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  <a:r>
              <a:rPr lang="ru-RU" sz="2400" b="1" dirty="0" err="1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критереш</a:t>
            </a:r>
            <a:r>
              <a:rPr lang="ru-RU" sz="2400" b="1" dirty="0">
                <a:solidFill>
                  <a:schemeClr val="bg1"/>
                </a:solidFill>
                <a:latin typeface="Times New Roman" panose="02020603050405020304"/>
                <a:ea typeface="Calibri" panose="020F0502020204030204"/>
              </a:rPr>
              <a:t> </a:t>
            </a:r>
          </a:p>
          <a:p>
            <a:pPr marL="90170" algn="just">
              <a:lnSpc>
                <a:spcPct val="107000"/>
              </a:lnSpc>
              <a:spcAft>
                <a:spcPts val="0"/>
              </a:spcAft>
            </a:pPr>
            <a:r>
              <a:rPr lang="ru-RU" sz="500" b="1" dirty="0" smtClean="0">
                <a:solidFill>
                  <a:schemeClr val="bg1"/>
                </a:solidFill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500" b="1" dirty="0">
              <a:solidFill>
                <a:schemeClr val="bg1"/>
              </a:solidFill>
              <a:latin typeface="Times New Roman" panose="02020603050405020304" pitchFamily="18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747*109"/>
  <p:tag name="TABLE_ENDDRAG_RECT" val="121*151*747*109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696*175"/>
  <p:tag name="TABLE_ENDDRAG_RECT" val="160*340*696*17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910*457"/>
  <p:tag name="TABLE_ENDDRAG_RECT" val="25*74*910*457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919*441"/>
  <p:tag name="TABLE_ENDDRAG_RECT" val="25*74*919*441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Светл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Светлые слайды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</TotalTime>
  <Words>1549</Words>
  <Application>Microsoft Office PowerPoint</Application>
  <PresentationFormat>Широкоэкранный</PresentationFormat>
  <Paragraphs>288</Paragraphs>
  <Slides>15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24" baseType="lpstr">
      <vt:lpstr>Arial</vt:lpstr>
      <vt:lpstr>Arial Unicode MS</vt:lpstr>
      <vt:lpstr>Calibri</vt:lpstr>
      <vt:lpstr>Calibri Light</vt:lpstr>
      <vt:lpstr>Times New Roman</vt:lpstr>
      <vt:lpstr>Тема Office</vt:lpstr>
      <vt:lpstr>Светлые слайды</vt:lpstr>
      <vt:lpstr>1_Светлые слайды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ашкина Екатерина Борисовна</dc:creator>
  <cp:lastModifiedBy>admin</cp:lastModifiedBy>
  <cp:revision>1234</cp:revision>
  <cp:lastPrinted>2022-08-02T06:55:00Z</cp:lastPrinted>
  <dcterms:created xsi:type="dcterms:W3CDTF">2020-02-25T09:30:00Z</dcterms:created>
  <dcterms:modified xsi:type="dcterms:W3CDTF">2025-02-26T10:53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E8D231F8F372466DA43322F489183FD7_12</vt:lpwstr>
  </property>
  <property fmtid="{D5CDD505-2E9C-101B-9397-08002B2CF9AE}" pid="3" name="KSOProductBuildVer">
    <vt:lpwstr>1049-12.2.0.18911</vt:lpwstr>
  </property>
</Properties>
</file>